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2" r:id="rId5"/>
  </p:sldMasterIdLst>
  <p:notesMasterIdLst>
    <p:notesMasterId r:id="rId39"/>
  </p:notesMasterIdLst>
  <p:handoutMasterIdLst>
    <p:handoutMasterId r:id="rId40"/>
  </p:handoutMasterIdLst>
  <p:sldIdLst>
    <p:sldId id="334" r:id="rId6"/>
    <p:sldId id="374" r:id="rId7"/>
    <p:sldId id="373" r:id="rId8"/>
    <p:sldId id="408" r:id="rId9"/>
    <p:sldId id="372" r:id="rId10"/>
    <p:sldId id="349" r:id="rId11"/>
    <p:sldId id="375" r:id="rId12"/>
    <p:sldId id="377" r:id="rId13"/>
    <p:sldId id="378" r:id="rId14"/>
    <p:sldId id="409" r:id="rId15"/>
    <p:sldId id="410" r:id="rId16"/>
    <p:sldId id="417" r:id="rId17"/>
    <p:sldId id="382" r:id="rId18"/>
    <p:sldId id="381" r:id="rId19"/>
    <p:sldId id="414" r:id="rId20"/>
    <p:sldId id="384" r:id="rId21"/>
    <p:sldId id="385" r:id="rId22"/>
    <p:sldId id="386" r:id="rId23"/>
    <p:sldId id="387" r:id="rId24"/>
    <p:sldId id="415" r:id="rId25"/>
    <p:sldId id="391" r:id="rId26"/>
    <p:sldId id="395" r:id="rId27"/>
    <p:sldId id="393" r:id="rId28"/>
    <p:sldId id="398" r:id="rId29"/>
    <p:sldId id="399" r:id="rId30"/>
    <p:sldId id="400" r:id="rId31"/>
    <p:sldId id="401" r:id="rId32"/>
    <p:sldId id="402" r:id="rId33"/>
    <p:sldId id="403" r:id="rId34"/>
    <p:sldId id="419" r:id="rId35"/>
    <p:sldId id="416" r:id="rId36"/>
    <p:sldId id="394" r:id="rId37"/>
    <p:sldId id="406" r:id="rId38"/>
  </p:sldIdLst>
  <p:sldSz cx="9144000" cy="6858000" type="screen4x3"/>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53">
          <p15:clr>
            <a:srgbClr val="A4A3A4"/>
          </p15:clr>
        </p15:guide>
        <p15:guide id="2" orient="horz" pos="917">
          <p15:clr>
            <a:srgbClr val="A4A3A4"/>
          </p15:clr>
        </p15:guide>
        <p15:guide id="3" orient="horz" pos="350">
          <p15:clr>
            <a:srgbClr val="A4A3A4"/>
          </p15:clr>
        </p15:guide>
        <p15:guide id="4" orient="horz" pos="3751">
          <p15:clr>
            <a:srgbClr val="A4A3A4"/>
          </p15:clr>
        </p15:guide>
        <p15:guide id="5" orient="horz" pos="2329">
          <p15:clr>
            <a:srgbClr val="A4A3A4"/>
          </p15:clr>
        </p15:guide>
        <p15:guide id="6" orient="horz" pos="2275">
          <p15:clr>
            <a:srgbClr val="A4A3A4"/>
          </p15:clr>
        </p15:guide>
        <p15:guide id="7" orient="horz" pos="2388">
          <p15:clr>
            <a:srgbClr val="A4A3A4"/>
          </p15:clr>
        </p15:guide>
        <p15:guide id="8" pos="2880">
          <p15:clr>
            <a:srgbClr val="A4A3A4"/>
          </p15:clr>
        </p15:guide>
        <p15:guide id="9" pos="294">
          <p15:clr>
            <a:srgbClr val="A4A3A4"/>
          </p15:clr>
        </p15:guide>
        <p15:guide id="10" pos="5466">
          <p15:clr>
            <a:srgbClr val="A4A3A4"/>
          </p15:clr>
        </p15:guide>
        <p15:guide id="11" pos="2955">
          <p15:clr>
            <a:srgbClr val="A4A3A4"/>
          </p15:clr>
        </p15:guide>
        <p15:guide id="12" pos="2805">
          <p15:clr>
            <a:srgbClr val="A4A3A4"/>
          </p15:clr>
        </p15:guide>
        <p15:guide id="13" pos="530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934"/>
    <a:srgbClr val="007635"/>
    <a:srgbClr val="5DBF0C"/>
    <a:srgbClr val="7AD4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571" autoAdjust="0"/>
    <p:restoredTop sz="96811" autoAdjust="0"/>
  </p:normalViewPr>
  <p:slideViewPr>
    <p:cSldViewPr snapToGrid="0">
      <p:cViewPr varScale="1">
        <p:scale>
          <a:sx n="66" d="100"/>
          <a:sy n="66" d="100"/>
        </p:scale>
        <p:origin x="1090" y="58"/>
      </p:cViewPr>
      <p:guideLst>
        <p:guide orient="horz" pos="1253"/>
        <p:guide orient="horz" pos="917"/>
        <p:guide orient="horz" pos="350"/>
        <p:guide orient="horz" pos="3751"/>
        <p:guide orient="horz" pos="2329"/>
        <p:guide orient="horz" pos="2275"/>
        <p:guide orient="horz" pos="2388"/>
        <p:guide pos="2880"/>
        <p:guide pos="294"/>
        <p:guide pos="5466"/>
        <p:guide pos="2955"/>
        <p:guide pos="2805"/>
        <p:guide pos="530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97" d="100"/>
          <a:sy n="97" d="100"/>
        </p:scale>
        <p:origin x="-3570"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6.bin"/></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lrioso\AppData\Local\Microsoft\Windows\Temporary%20Internet%20Files\Content.Outlook\ELKGH37D\Regla%20Operativ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Caudales IT.xlsx]Graph3!TablaDinámica3</c:name>
    <c:fmtId val="-1"/>
  </c:pivotSource>
  <c:chart>
    <c:autoTitleDeleted val="1"/>
    <c:pivotFmts>
      <c:pivotFmt>
        <c:idx val="0"/>
        <c:sp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extLst>
        </c:dLbl>
      </c:pivotFmt>
      <c:pivotFmt>
        <c:idx val="1"/>
        <c:sp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extLst>
        </c:dLbl>
      </c:pivotFmt>
      <c:pivotFmt>
        <c:idx val="2"/>
        <c:sp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8.6914537927038765E-2"/>
          <c:y val="3.7894091142289942E-2"/>
          <c:w val="0.89328883734404096"/>
          <c:h val="0.8768486092212977"/>
        </c:manualLayout>
      </c:layout>
      <c:barChart>
        <c:barDir val="col"/>
        <c:grouping val="clustered"/>
        <c:varyColors val="0"/>
        <c:ser>
          <c:idx val="0"/>
          <c:order val="0"/>
          <c:tx>
            <c:strRef>
              <c:f>Graph3!$B$1</c:f>
              <c:strCache>
                <c:ptCount val="1"/>
                <c:pt idx="0">
                  <c:v>Total</c:v>
                </c:pt>
              </c:strCache>
            </c:strRef>
          </c:tx>
          <c:sp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a:effectLst>
              <a:outerShdw blurRad="50800" dist="38100" dir="2700000" algn="tl" rotWithShape="0">
                <a:prstClr val="black">
                  <a:alpha val="40000"/>
                </a:prstClr>
              </a:outerShdw>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3!$A$2:$A$14</c:f>
              <c:strCache>
                <c:ptCount val="12"/>
                <c:pt idx="0">
                  <c:v>enero</c:v>
                </c:pt>
                <c:pt idx="1">
                  <c:v>febrero</c:v>
                </c:pt>
                <c:pt idx="2">
                  <c:v>marzo</c:v>
                </c:pt>
                <c:pt idx="3">
                  <c:v>abril</c:v>
                </c:pt>
                <c:pt idx="4">
                  <c:v>mayo</c:v>
                </c:pt>
                <c:pt idx="5">
                  <c:v>junio</c:v>
                </c:pt>
                <c:pt idx="6">
                  <c:v>julio</c:v>
                </c:pt>
                <c:pt idx="7">
                  <c:v>agosto</c:v>
                </c:pt>
                <c:pt idx="8">
                  <c:v>septiembre</c:v>
                </c:pt>
                <c:pt idx="9">
                  <c:v>octubre</c:v>
                </c:pt>
                <c:pt idx="10">
                  <c:v>noviembre</c:v>
                </c:pt>
                <c:pt idx="11">
                  <c:v>diciembre</c:v>
                </c:pt>
              </c:strCache>
            </c:strRef>
          </c:cat>
          <c:val>
            <c:numRef>
              <c:f>Graph3!$B$2:$B$14</c:f>
              <c:numCache>
                <c:formatCode>General</c:formatCode>
                <c:ptCount val="12"/>
                <c:pt idx="0">
                  <c:v>906.59494290206862</c:v>
                </c:pt>
                <c:pt idx="1">
                  <c:v>836.09600485370242</c:v>
                </c:pt>
                <c:pt idx="2">
                  <c:v>900.4791250836156</c:v>
                </c:pt>
                <c:pt idx="3">
                  <c:v>1106.4140992658974</c:v>
                </c:pt>
                <c:pt idx="4">
                  <c:v>1288.565262620978</c:v>
                </c:pt>
                <c:pt idx="5">
                  <c:v>1049.7452960926939</c:v>
                </c:pt>
                <c:pt idx="6">
                  <c:v>793.91654961032714</c:v>
                </c:pt>
                <c:pt idx="7">
                  <c:v>703.8306913630621</c:v>
                </c:pt>
                <c:pt idx="8">
                  <c:v>748.97685639090776</c:v>
                </c:pt>
                <c:pt idx="9">
                  <c:v>1027.1764666674565</c:v>
                </c:pt>
                <c:pt idx="10">
                  <c:v>1356.7652414788579</c:v>
                </c:pt>
                <c:pt idx="11">
                  <c:v>1222.0066673749218</c:v>
                </c:pt>
              </c:numCache>
            </c:numRef>
          </c:val>
          <c:extLst>
            <c:ext xmlns:c16="http://schemas.microsoft.com/office/drawing/2014/chart" uri="{C3380CC4-5D6E-409C-BE32-E72D297353CC}">
              <c16:uniqueId val="{00000000-744A-44E4-9307-AFEEB35EE2F7}"/>
            </c:ext>
          </c:extLst>
        </c:ser>
        <c:dLbls>
          <c:showLegendKey val="0"/>
          <c:showVal val="0"/>
          <c:showCatName val="0"/>
          <c:showSerName val="0"/>
          <c:showPercent val="0"/>
          <c:showBubbleSize val="0"/>
        </c:dLbls>
        <c:gapWidth val="70"/>
        <c:overlap val="-27"/>
        <c:axId val="431411624"/>
        <c:axId val="431413592"/>
      </c:barChart>
      <c:catAx>
        <c:axId val="431411624"/>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s-CO"/>
          </a:p>
        </c:txPr>
        <c:crossAx val="431413592"/>
        <c:crosses val="autoZero"/>
        <c:auto val="1"/>
        <c:lblAlgn val="ctr"/>
        <c:lblOffset val="100"/>
        <c:noMultiLvlLbl val="0"/>
      </c:catAx>
      <c:valAx>
        <c:axId val="4314135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s-CO" sz="1000" b="1" dirty="0"/>
                  <a:t>Caudal (m</a:t>
                </a:r>
                <a:r>
                  <a:rPr lang="es-CO" sz="1000" b="1" baseline="30000" dirty="0"/>
                  <a:t>3</a:t>
                </a:r>
                <a:r>
                  <a:rPr lang="es-CO" sz="1000" b="1" dirty="0"/>
                  <a:t>/s)</a:t>
                </a:r>
              </a:p>
            </c:rich>
          </c:tx>
          <c:layout>
            <c:manualLayout>
              <c:xMode val="edge"/>
              <c:yMode val="edge"/>
              <c:x val="1.5385667671187682E-2"/>
              <c:y val="0.400815507126765"/>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s-CO"/>
            </a:p>
          </c:txPr>
        </c:title>
        <c:numFmt formatCode="General" sourceLinked="1"/>
        <c:majorTickMark val="out"/>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s-CO"/>
          </a:p>
        </c:txPr>
        <c:crossAx val="431411624"/>
        <c:crosses val="autoZero"/>
        <c:crossBetween val="between"/>
      </c:valAx>
      <c:spPr>
        <a:noFill/>
        <a:ln w="9525">
          <a:solidFill>
            <a:schemeClr val="tx1">
              <a:lumMod val="50000"/>
              <a:lumOff val="50000"/>
            </a:schemeClr>
          </a:solidFill>
        </a:ln>
        <a:effectLst/>
      </c:spPr>
    </c:plotArea>
    <c:plotVisOnly val="1"/>
    <c:dispBlanksAs val="gap"/>
    <c:showDLblsOverMax val="0"/>
  </c:chart>
  <c:spPr>
    <a:noFill/>
    <a:ln w="28575" cmpd="thinThick">
      <a:solidFill>
        <a:srgbClr val="2F2F2F">
          <a:lumMod val="50000"/>
          <a:lumOff val="50000"/>
        </a:srgbClr>
      </a:solidFill>
    </a:ln>
    <a:effectLst>
      <a:outerShdw blurRad="50800" dist="38100" dir="2700000" algn="tl" rotWithShape="0">
        <a:prstClr val="black">
          <a:alpha val="40000"/>
        </a:prstClr>
      </a:outerShdw>
    </a:effectLst>
  </c:spPr>
  <c:txPr>
    <a:bodyPr/>
    <a:lstStyle/>
    <a:p>
      <a:pPr>
        <a:defRPr/>
      </a:pPr>
      <a:endParaRPr lang="es-CO"/>
    </a:p>
  </c:txPr>
  <c:externalData r:id="rId4">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chemeClr val="bg1"/>
                </a:solidFill>
                <a:latin typeface="Trebuchet MS" panose="020B0603020202020204" pitchFamily="34" charset="0"/>
                <a:ea typeface="+mn-ea"/>
                <a:cs typeface="+mn-cs"/>
              </a:defRPr>
            </a:pPr>
            <a:r>
              <a:rPr lang="es-CO" sz="1200" b="1">
                <a:solidFill>
                  <a:schemeClr val="bg1"/>
                </a:solidFill>
                <a:latin typeface="Trebuchet MS" panose="020B0603020202020204" pitchFamily="34" charset="0"/>
              </a:rPr>
              <a:t>Límites</a:t>
            </a:r>
            <a:r>
              <a:rPr lang="es-CO" sz="1200" b="1" baseline="0">
                <a:solidFill>
                  <a:schemeClr val="bg1"/>
                </a:solidFill>
                <a:latin typeface="Trebuchet MS" panose="020B0603020202020204" pitchFamily="34" charset="0"/>
              </a:rPr>
              <a:t> de descarga</a:t>
            </a:r>
            <a:endParaRPr lang="es-CO" sz="1200" b="1">
              <a:solidFill>
                <a:schemeClr val="bg1"/>
              </a:solidFill>
              <a:latin typeface="Trebuchet MS" panose="020B0603020202020204" pitchFamily="34" charset="0"/>
            </a:endParaRPr>
          </a:p>
        </c:rich>
      </c:tx>
      <c:overlay val="0"/>
      <c:spPr>
        <a:solidFill>
          <a:srgbClr val="002060"/>
        </a:solidFill>
        <a:ln>
          <a:noFill/>
        </a:ln>
        <a:effectLst/>
      </c:spPr>
      <c:txPr>
        <a:bodyPr rot="0" spcFirstLastPara="1" vertOverflow="ellipsis" vert="horz" wrap="square" anchor="ctr" anchorCtr="1"/>
        <a:lstStyle/>
        <a:p>
          <a:pPr>
            <a:defRPr sz="1200" b="1" i="0" u="none" strike="noStrike" kern="1200" spc="0" baseline="0">
              <a:solidFill>
                <a:schemeClr val="bg1"/>
              </a:solidFill>
              <a:latin typeface="Trebuchet MS" panose="020B0603020202020204" pitchFamily="34" charset="0"/>
              <a:ea typeface="+mn-ea"/>
              <a:cs typeface="+mn-cs"/>
            </a:defRPr>
          </a:pPr>
          <a:endParaRPr lang="es-CO"/>
        </a:p>
      </c:txPr>
    </c:title>
    <c:autoTitleDeleted val="0"/>
    <c:plotArea>
      <c:layout>
        <c:manualLayout>
          <c:layoutTarget val="inner"/>
          <c:xMode val="edge"/>
          <c:yMode val="edge"/>
          <c:x val="0.11603324173281887"/>
          <c:y val="9.8137427642161074E-2"/>
          <c:w val="0.84629810032871577"/>
          <c:h val="0.68814554925262661"/>
        </c:manualLayout>
      </c:layout>
      <c:scatterChart>
        <c:scatterStyle val="lineMarker"/>
        <c:varyColors val="0"/>
        <c:ser>
          <c:idx val="0"/>
          <c:order val="0"/>
          <c:tx>
            <c:strRef>
              <c:f>'TBL00-0'!$F$2</c:f>
              <c:strCache>
                <c:ptCount val="1"/>
                <c:pt idx="0">
                  <c:v>Límite superior de caudal  (m3/s)</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TBL00-0'!$B$3:$B$16</c:f>
              <c:numCache>
                <c:formatCode>General</c:formatCode>
                <c:ptCount val="14"/>
                <c:pt idx="0">
                  <c:v>1350</c:v>
                </c:pt>
                <c:pt idx="1">
                  <c:v>1300</c:v>
                </c:pt>
                <c:pt idx="2">
                  <c:v>1200</c:v>
                </c:pt>
                <c:pt idx="3">
                  <c:v>1100</c:v>
                </c:pt>
                <c:pt idx="4">
                  <c:v>1000</c:v>
                </c:pt>
                <c:pt idx="5">
                  <c:v>900</c:v>
                </c:pt>
                <c:pt idx="6">
                  <c:v>800</c:v>
                </c:pt>
                <c:pt idx="7">
                  <c:v>700</c:v>
                </c:pt>
                <c:pt idx="8">
                  <c:v>675</c:v>
                </c:pt>
                <c:pt idx="9">
                  <c:v>600</c:v>
                </c:pt>
                <c:pt idx="10">
                  <c:v>500</c:v>
                </c:pt>
                <c:pt idx="11">
                  <c:v>400</c:v>
                </c:pt>
                <c:pt idx="12">
                  <c:v>300</c:v>
                </c:pt>
                <c:pt idx="13">
                  <c:v>200</c:v>
                </c:pt>
              </c:numCache>
            </c:numRef>
          </c:xVal>
          <c:yVal>
            <c:numRef>
              <c:f>'TBL00-0'!$F$3:$F$16</c:f>
              <c:numCache>
                <c:formatCode>0.0</c:formatCode>
                <c:ptCount val="14"/>
                <c:pt idx="0">
                  <c:v>1518.75</c:v>
                </c:pt>
                <c:pt idx="1">
                  <c:v>1456.65</c:v>
                </c:pt>
                <c:pt idx="2">
                  <c:v>1333.2</c:v>
                </c:pt>
                <c:pt idx="3">
                  <c:v>1212.2</c:v>
                </c:pt>
                <c:pt idx="4">
                  <c:v>1092.5</c:v>
                </c:pt>
                <c:pt idx="5">
                  <c:v>975.15</c:v>
                </c:pt>
                <c:pt idx="6">
                  <c:v>859.2</c:v>
                </c:pt>
                <c:pt idx="7">
                  <c:v>745.5</c:v>
                </c:pt>
                <c:pt idx="8">
                  <c:v>717.1875</c:v>
                </c:pt>
                <c:pt idx="9">
                  <c:v>633.29999999999995</c:v>
                </c:pt>
                <c:pt idx="10">
                  <c:v>523.25</c:v>
                </c:pt>
                <c:pt idx="11">
                  <c:v>414.8</c:v>
                </c:pt>
                <c:pt idx="12">
                  <c:v>308.39999999999998</c:v>
                </c:pt>
                <c:pt idx="13">
                  <c:v>203.7</c:v>
                </c:pt>
              </c:numCache>
            </c:numRef>
          </c:yVal>
          <c:smooth val="0"/>
          <c:extLst>
            <c:ext xmlns:c16="http://schemas.microsoft.com/office/drawing/2014/chart" uri="{C3380CC4-5D6E-409C-BE32-E72D297353CC}">
              <c16:uniqueId val="{00000000-68FD-4E4A-BEA8-AC044766DB7A}"/>
            </c:ext>
          </c:extLst>
        </c:ser>
        <c:ser>
          <c:idx val="1"/>
          <c:order val="1"/>
          <c:tx>
            <c:strRef>
              <c:f>'TBL00-0'!$G$2</c:f>
              <c:strCache>
                <c:ptCount val="1"/>
                <c:pt idx="0">
                  <c:v>Límite inferior de caudal  (m3/s)</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TBL00-0'!$B$3:$B$16</c:f>
              <c:numCache>
                <c:formatCode>General</c:formatCode>
                <c:ptCount val="14"/>
                <c:pt idx="0">
                  <c:v>1350</c:v>
                </c:pt>
                <c:pt idx="1">
                  <c:v>1300</c:v>
                </c:pt>
                <c:pt idx="2">
                  <c:v>1200</c:v>
                </c:pt>
                <c:pt idx="3">
                  <c:v>1100</c:v>
                </c:pt>
                <c:pt idx="4">
                  <c:v>1000</c:v>
                </c:pt>
                <c:pt idx="5">
                  <c:v>900</c:v>
                </c:pt>
                <c:pt idx="6">
                  <c:v>800</c:v>
                </c:pt>
                <c:pt idx="7">
                  <c:v>700</c:v>
                </c:pt>
                <c:pt idx="8">
                  <c:v>675</c:v>
                </c:pt>
                <c:pt idx="9">
                  <c:v>600</c:v>
                </c:pt>
                <c:pt idx="10">
                  <c:v>500</c:v>
                </c:pt>
                <c:pt idx="11">
                  <c:v>400</c:v>
                </c:pt>
                <c:pt idx="12">
                  <c:v>300</c:v>
                </c:pt>
                <c:pt idx="13">
                  <c:v>200</c:v>
                </c:pt>
              </c:numCache>
            </c:numRef>
          </c:xVal>
          <c:yVal>
            <c:numRef>
              <c:f>'TBL00-0'!$G$3:$G$16</c:f>
              <c:numCache>
                <c:formatCode>0.0</c:formatCode>
                <c:ptCount val="14"/>
                <c:pt idx="0">
                  <c:v>1181.25</c:v>
                </c:pt>
                <c:pt idx="1">
                  <c:v>1143.3499999999999</c:v>
                </c:pt>
                <c:pt idx="2">
                  <c:v>1066.8</c:v>
                </c:pt>
                <c:pt idx="3">
                  <c:v>987.8</c:v>
                </c:pt>
                <c:pt idx="4">
                  <c:v>907.5</c:v>
                </c:pt>
                <c:pt idx="5">
                  <c:v>824.85</c:v>
                </c:pt>
                <c:pt idx="6">
                  <c:v>740.8</c:v>
                </c:pt>
                <c:pt idx="7">
                  <c:v>654.5</c:v>
                </c:pt>
                <c:pt idx="8">
                  <c:v>632.8125</c:v>
                </c:pt>
                <c:pt idx="9">
                  <c:v>566.70000000000005</c:v>
                </c:pt>
                <c:pt idx="10">
                  <c:v>476.75</c:v>
                </c:pt>
                <c:pt idx="11">
                  <c:v>385.2</c:v>
                </c:pt>
                <c:pt idx="12">
                  <c:v>291.60000000000002</c:v>
                </c:pt>
                <c:pt idx="13">
                  <c:v>196.3</c:v>
                </c:pt>
              </c:numCache>
            </c:numRef>
          </c:yVal>
          <c:smooth val="0"/>
          <c:extLst>
            <c:ext xmlns:c16="http://schemas.microsoft.com/office/drawing/2014/chart" uri="{C3380CC4-5D6E-409C-BE32-E72D297353CC}">
              <c16:uniqueId val="{00000001-68FD-4E4A-BEA8-AC044766DB7A}"/>
            </c:ext>
          </c:extLst>
        </c:ser>
        <c:ser>
          <c:idx val="2"/>
          <c:order val="2"/>
          <c:tx>
            <c:strRef>
              <c:f>'TBL00-0'!$H$2</c:f>
              <c:strCache>
                <c:ptCount val="1"/>
                <c:pt idx="0">
                  <c:v>Caudal </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xVal>
            <c:numRef>
              <c:f>'TBL00-0'!$B$3:$B$16</c:f>
              <c:numCache>
                <c:formatCode>General</c:formatCode>
                <c:ptCount val="14"/>
                <c:pt idx="0">
                  <c:v>1350</c:v>
                </c:pt>
                <c:pt idx="1">
                  <c:v>1300</c:v>
                </c:pt>
                <c:pt idx="2">
                  <c:v>1200</c:v>
                </c:pt>
                <c:pt idx="3">
                  <c:v>1100</c:v>
                </c:pt>
                <c:pt idx="4">
                  <c:v>1000</c:v>
                </c:pt>
                <c:pt idx="5">
                  <c:v>900</c:v>
                </c:pt>
                <c:pt idx="6">
                  <c:v>800</c:v>
                </c:pt>
                <c:pt idx="7">
                  <c:v>700</c:v>
                </c:pt>
                <c:pt idx="8">
                  <c:v>675</c:v>
                </c:pt>
                <c:pt idx="9">
                  <c:v>600</c:v>
                </c:pt>
                <c:pt idx="10">
                  <c:v>500</c:v>
                </c:pt>
                <c:pt idx="11">
                  <c:v>400</c:v>
                </c:pt>
                <c:pt idx="12">
                  <c:v>300</c:v>
                </c:pt>
                <c:pt idx="13">
                  <c:v>200</c:v>
                </c:pt>
              </c:numCache>
            </c:numRef>
          </c:xVal>
          <c:yVal>
            <c:numRef>
              <c:f>'TBL00-0'!$H$3:$H$16</c:f>
              <c:numCache>
                <c:formatCode>0.0</c:formatCode>
                <c:ptCount val="14"/>
                <c:pt idx="0">
                  <c:v>1350</c:v>
                </c:pt>
                <c:pt idx="1">
                  <c:v>1300</c:v>
                </c:pt>
                <c:pt idx="2">
                  <c:v>1200</c:v>
                </c:pt>
                <c:pt idx="3">
                  <c:v>1100</c:v>
                </c:pt>
                <c:pt idx="4">
                  <c:v>1000</c:v>
                </c:pt>
                <c:pt idx="5">
                  <c:v>900</c:v>
                </c:pt>
                <c:pt idx="6">
                  <c:v>800</c:v>
                </c:pt>
                <c:pt idx="7">
                  <c:v>700</c:v>
                </c:pt>
                <c:pt idx="8">
                  <c:v>675</c:v>
                </c:pt>
                <c:pt idx="9">
                  <c:v>600</c:v>
                </c:pt>
                <c:pt idx="10">
                  <c:v>500</c:v>
                </c:pt>
                <c:pt idx="11">
                  <c:v>400</c:v>
                </c:pt>
                <c:pt idx="12">
                  <c:v>300</c:v>
                </c:pt>
                <c:pt idx="13">
                  <c:v>200</c:v>
                </c:pt>
              </c:numCache>
            </c:numRef>
          </c:yVal>
          <c:smooth val="0"/>
          <c:extLst>
            <c:ext xmlns:c16="http://schemas.microsoft.com/office/drawing/2014/chart" uri="{C3380CC4-5D6E-409C-BE32-E72D297353CC}">
              <c16:uniqueId val="{00000002-68FD-4E4A-BEA8-AC044766DB7A}"/>
            </c:ext>
          </c:extLst>
        </c:ser>
        <c:dLbls>
          <c:showLegendKey val="0"/>
          <c:showVal val="0"/>
          <c:showCatName val="0"/>
          <c:showSerName val="0"/>
          <c:showPercent val="0"/>
          <c:showBubbleSize val="0"/>
        </c:dLbls>
        <c:axId val="478893728"/>
        <c:axId val="478893072"/>
      </c:scatterChart>
      <c:valAx>
        <c:axId val="478893728"/>
        <c:scaling>
          <c:orientation val="minMax"/>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0" spcFirstLastPara="1" vertOverflow="ellipsis" vert="horz" wrap="square" anchor="ctr" anchorCtr="1"/>
              <a:lstStyle/>
              <a:p>
                <a:pPr algn="ctr" rtl="0">
                  <a:defRPr lang="es-CO" sz="1200" b="1" i="0" u="none" strike="noStrike" kern="1200" spc="0" baseline="0" dirty="0" smtClean="0">
                    <a:solidFill>
                      <a:schemeClr val="bg1"/>
                    </a:solidFill>
                    <a:latin typeface="Trebuchet MS" panose="020B0603020202020204" pitchFamily="34" charset="0"/>
                    <a:ea typeface="+mn-ea"/>
                    <a:cs typeface="+mn-cs"/>
                  </a:defRPr>
                </a:pPr>
                <a:r>
                  <a:rPr lang="es-CO" sz="1200" b="1" i="0" u="none" strike="noStrike" kern="1200" spc="0" baseline="0" dirty="0">
                    <a:solidFill>
                      <a:schemeClr val="bg1"/>
                    </a:solidFill>
                    <a:latin typeface="Trebuchet MS" panose="020B0603020202020204" pitchFamily="34" charset="0"/>
                    <a:ea typeface="+mn-ea"/>
                    <a:cs typeface="+mn-cs"/>
                  </a:rPr>
                  <a:t>Caudal día anterior (m</a:t>
                </a:r>
                <a:r>
                  <a:rPr lang="es-CO" sz="1200" b="1" i="0" u="none" strike="noStrike" kern="1200" spc="0" baseline="30000" dirty="0">
                    <a:solidFill>
                      <a:schemeClr val="bg1"/>
                    </a:solidFill>
                    <a:latin typeface="Trebuchet MS" panose="020B0603020202020204" pitchFamily="34" charset="0"/>
                    <a:ea typeface="+mn-ea"/>
                    <a:cs typeface="+mn-cs"/>
                  </a:rPr>
                  <a:t>3</a:t>
                </a:r>
                <a:r>
                  <a:rPr lang="es-CO" sz="1200" b="1" i="0" u="none" strike="noStrike" kern="1200" spc="0" baseline="0" dirty="0">
                    <a:solidFill>
                      <a:schemeClr val="bg1"/>
                    </a:solidFill>
                    <a:latin typeface="Trebuchet MS" panose="020B0603020202020204" pitchFamily="34" charset="0"/>
                    <a:ea typeface="+mn-ea"/>
                    <a:cs typeface="+mn-cs"/>
                  </a:rPr>
                  <a:t>/s)</a:t>
                </a:r>
              </a:p>
            </c:rich>
          </c:tx>
          <c:layout>
            <c:manualLayout>
              <c:xMode val="edge"/>
              <c:yMode val="edge"/>
              <c:x val="0.41681104979822409"/>
              <c:y val="0.85472957223136392"/>
            </c:manualLayout>
          </c:layout>
          <c:overlay val="0"/>
          <c:spPr>
            <a:solidFill>
              <a:srgbClr val="002060"/>
            </a:solidFill>
            <a:ln>
              <a:noFill/>
            </a:ln>
            <a:effectLst/>
          </c:spPr>
          <c:txPr>
            <a:bodyPr rot="0" spcFirstLastPara="1" vertOverflow="ellipsis" vert="horz" wrap="square" anchor="ctr" anchorCtr="1"/>
            <a:lstStyle/>
            <a:p>
              <a:pPr algn="ctr" rtl="0">
                <a:defRPr lang="es-CO" sz="1200" b="1" i="0" u="none" strike="noStrike" kern="1200" spc="0" baseline="0" dirty="0" smtClean="0">
                  <a:solidFill>
                    <a:schemeClr val="bg1"/>
                  </a:solidFill>
                  <a:latin typeface="Trebuchet MS" panose="020B0603020202020204" pitchFamily="34" charset="0"/>
                  <a:ea typeface="+mn-ea"/>
                  <a:cs typeface="+mn-cs"/>
                </a:defRPr>
              </a:pPr>
              <a:endParaRPr lang="es-CO"/>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rebuchet MS" panose="020B0603020202020204" pitchFamily="34" charset="0"/>
                <a:ea typeface="+mn-ea"/>
                <a:cs typeface="+mn-cs"/>
              </a:defRPr>
            </a:pPr>
            <a:endParaRPr lang="es-CO"/>
          </a:p>
        </c:txPr>
        <c:crossAx val="478893072"/>
        <c:crosses val="autoZero"/>
        <c:crossBetween val="midCat"/>
      </c:valAx>
      <c:valAx>
        <c:axId val="478893072"/>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lgn="ctr" rtl="0">
                  <a:defRPr lang="es-CO" sz="1200" b="1" i="0" u="none" strike="noStrike" kern="1200" spc="0" baseline="0" dirty="0" smtClean="0">
                    <a:solidFill>
                      <a:schemeClr val="bg1"/>
                    </a:solidFill>
                    <a:latin typeface="Trebuchet MS" panose="020B0603020202020204" pitchFamily="34" charset="0"/>
                    <a:ea typeface="+mn-ea"/>
                    <a:cs typeface="+mn-cs"/>
                  </a:defRPr>
                </a:pPr>
                <a:r>
                  <a:rPr lang="es-CO" sz="1200" b="1" i="0" u="none" strike="noStrike" kern="1200" spc="0" baseline="0" dirty="0">
                    <a:solidFill>
                      <a:schemeClr val="bg1"/>
                    </a:solidFill>
                    <a:latin typeface="Trebuchet MS" panose="020B0603020202020204" pitchFamily="34" charset="0"/>
                    <a:ea typeface="+mn-ea"/>
                    <a:cs typeface="+mn-cs"/>
                  </a:rPr>
                  <a:t>Caudal día actual (m</a:t>
                </a:r>
                <a:r>
                  <a:rPr lang="es-CO" sz="1200" b="1" i="0" u="none" strike="noStrike" kern="1200" spc="0" baseline="30000" dirty="0">
                    <a:solidFill>
                      <a:schemeClr val="bg1"/>
                    </a:solidFill>
                    <a:latin typeface="Trebuchet MS" panose="020B0603020202020204" pitchFamily="34" charset="0"/>
                    <a:ea typeface="+mn-ea"/>
                    <a:cs typeface="+mn-cs"/>
                  </a:rPr>
                  <a:t>3</a:t>
                </a:r>
                <a:r>
                  <a:rPr lang="es-CO" sz="1200" b="1" i="0" u="none" strike="noStrike" kern="1200" spc="0" baseline="0" dirty="0">
                    <a:solidFill>
                      <a:schemeClr val="bg1"/>
                    </a:solidFill>
                    <a:latin typeface="Trebuchet MS" panose="020B0603020202020204" pitchFamily="34" charset="0"/>
                    <a:ea typeface="+mn-ea"/>
                    <a:cs typeface="+mn-cs"/>
                  </a:rPr>
                  <a:t>/s)</a:t>
                </a:r>
              </a:p>
            </c:rich>
          </c:tx>
          <c:layout>
            <c:manualLayout>
              <c:xMode val="edge"/>
              <c:yMode val="edge"/>
              <c:x val="2.3675103503216745E-2"/>
              <c:y val="0.25122565831106636"/>
            </c:manualLayout>
          </c:layout>
          <c:overlay val="0"/>
          <c:spPr>
            <a:solidFill>
              <a:srgbClr val="002060"/>
            </a:solidFill>
            <a:ln>
              <a:noFill/>
            </a:ln>
            <a:effectLst/>
          </c:spPr>
          <c:txPr>
            <a:bodyPr rot="-5400000" spcFirstLastPara="1" vertOverflow="ellipsis" vert="horz" wrap="square" anchor="ctr" anchorCtr="1"/>
            <a:lstStyle/>
            <a:p>
              <a:pPr algn="ctr" rtl="0">
                <a:defRPr lang="es-CO" sz="1200" b="1" i="0" u="none" strike="noStrike" kern="1200" spc="0" baseline="0" dirty="0" smtClean="0">
                  <a:solidFill>
                    <a:schemeClr val="bg1"/>
                  </a:solidFill>
                  <a:latin typeface="Trebuchet MS" panose="020B0603020202020204" pitchFamily="34" charset="0"/>
                  <a:ea typeface="+mn-ea"/>
                  <a:cs typeface="+mn-cs"/>
                </a:defRPr>
              </a:pPr>
              <a:endParaRPr lang="es-CO"/>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Trebuchet MS" panose="020B0603020202020204" pitchFamily="34" charset="0"/>
                <a:ea typeface="+mn-ea"/>
                <a:cs typeface="+mn-cs"/>
              </a:defRPr>
            </a:pPr>
            <a:endParaRPr lang="es-CO"/>
          </a:p>
        </c:txPr>
        <c:crossAx val="478893728"/>
        <c:crosses val="autoZero"/>
        <c:crossBetween val="midCat"/>
      </c:valAx>
      <c:spPr>
        <a:noFill/>
        <a:ln>
          <a:noFill/>
        </a:ln>
        <a:effectLst/>
      </c:spPr>
    </c:plotArea>
    <c:legend>
      <c:legendPos val="b"/>
      <c:layout>
        <c:manualLayout>
          <c:xMode val="edge"/>
          <c:yMode val="edge"/>
          <c:x val="0.10273348072566919"/>
          <c:y val="0.92777945444459087"/>
          <c:w val="0.79453303854866164"/>
          <c:h val="4.9557661092177047E-2"/>
        </c:manualLayout>
      </c:layout>
      <c:overlay val="0"/>
      <c:spPr>
        <a:noFill/>
        <a:ln>
          <a:solidFill>
            <a:srgbClr val="FFFFFF">
              <a:lumMod val="50000"/>
            </a:srgbClr>
          </a:solidFill>
        </a:ln>
        <a:effectLst/>
      </c:spPr>
      <c:txPr>
        <a:bodyPr rot="0" spcFirstLastPara="1" vertOverflow="ellipsis" vert="horz" wrap="square" anchor="ctr" anchorCtr="1"/>
        <a:lstStyle/>
        <a:p>
          <a:pPr>
            <a:defRPr sz="1000" b="1" i="0" u="none" strike="noStrike" kern="1200" baseline="0">
              <a:solidFill>
                <a:schemeClr val="tx1">
                  <a:lumMod val="75000"/>
                  <a:lumOff val="25000"/>
                </a:schemeClr>
              </a:solidFill>
              <a:latin typeface="Trebuchet MS" panose="020B0603020202020204" pitchFamily="34" charset="0"/>
              <a:ea typeface="+mn-ea"/>
              <a:cs typeface="+mn-cs"/>
            </a:defRPr>
          </a:pPr>
          <a:endParaRPr lang="es-CO"/>
        </a:p>
      </c:txPr>
    </c:legend>
    <c:plotVisOnly val="1"/>
    <c:dispBlanksAs val="gap"/>
    <c:showDLblsOverMax val="0"/>
  </c:chart>
  <c:spPr>
    <a:noFill/>
    <a:ln w="28575" cmpd="thinThick">
      <a:solidFill>
        <a:srgbClr val="FFFFFF">
          <a:lumMod val="50000"/>
        </a:srgbClr>
      </a:solidFill>
    </a:ln>
    <a:effectLst>
      <a:outerShdw blurRad="50800" dist="38100" dir="2700000" algn="tl" rotWithShape="0">
        <a:prstClr val="black">
          <a:alpha val="40000"/>
        </a:prstClr>
      </a:outerShdw>
    </a:effectLst>
  </c:spPr>
  <c:txPr>
    <a:bodyPr/>
    <a:lstStyle/>
    <a:p>
      <a:pPr>
        <a:defRPr/>
      </a:pPr>
      <a:endParaRPr lang="es-CO"/>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image" Target="../media/image1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O"/>
          </a:p>
        </p:txBody>
      </p:sp>
      <p:sp>
        <p:nvSpPr>
          <p:cNvPr id="3" name="2 Marcador de fecha"/>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5361624-E4F4-42D4-882A-C393ADB90D55}" type="datetimeFigureOut">
              <a:rPr lang="es-CO" smtClean="0"/>
              <a:pPr/>
              <a:t>5/12/2017</a:t>
            </a:fld>
            <a:endParaRPr lang="es-CO"/>
          </a:p>
        </p:txBody>
      </p:sp>
      <p:sp>
        <p:nvSpPr>
          <p:cNvPr id="4" name="3 Marcador de pie de página"/>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s-CO"/>
          </a:p>
        </p:txBody>
      </p:sp>
      <p:sp>
        <p:nvSpPr>
          <p:cNvPr id="5" name="4 Marcador de número de diapositiva"/>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07DEB43-E54F-4CB6-823F-26B9508EF944}" type="slidenum">
              <a:rPr lang="es-CO" smtClean="0"/>
              <a:pPr/>
              <a:t>‹Nº›</a:t>
            </a:fld>
            <a:endParaRPr lang="es-CO"/>
          </a:p>
        </p:txBody>
      </p:sp>
    </p:spTree>
    <p:extLst>
      <p:ext uri="{BB962C8B-B14F-4D97-AF65-F5344CB8AC3E}">
        <p14:creationId xmlns:p14="http://schemas.microsoft.com/office/powerpoint/2010/main" val="11351834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O" dirty="0"/>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FBE8CDA-3D05-4DD0-8715-E76C1A60743B}" type="datetimeFigureOut">
              <a:rPr lang="es-CO" smtClean="0"/>
              <a:pPr/>
              <a:t>5/12/2017</a:t>
            </a:fld>
            <a:endParaRPr lang="es-CO" dirty="0"/>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CO" dirty="0"/>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CO" dirty="0"/>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0184D17-2FDB-4EC8-BDEC-7A251800F36C}" type="slidenum">
              <a:rPr lang="es-CO" smtClean="0"/>
              <a:pPr/>
              <a:t>‹Nº›</a:t>
            </a:fld>
            <a:endParaRPr lang="es-CO" dirty="0"/>
          </a:p>
        </p:txBody>
      </p:sp>
    </p:spTree>
    <p:extLst>
      <p:ext uri="{BB962C8B-B14F-4D97-AF65-F5344CB8AC3E}">
        <p14:creationId xmlns:p14="http://schemas.microsoft.com/office/powerpoint/2010/main" val="14017021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10"/>
          </p:nvPr>
        </p:nvSpPr>
        <p:spPr/>
        <p:txBody>
          <a:bodyPr/>
          <a:lstStyle/>
          <a:p>
            <a:fld id="{00184D17-2FDB-4EC8-BDEC-7A251800F36C}" type="slidenum">
              <a:rPr lang="es-CO" smtClean="0"/>
              <a:pPr/>
              <a:t>5</a:t>
            </a:fld>
            <a:endParaRPr lang="es-CO" dirty="0"/>
          </a:p>
        </p:txBody>
      </p:sp>
    </p:spTree>
    <p:extLst>
      <p:ext uri="{BB962C8B-B14F-4D97-AF65-F5344CB8AC3E}">
        <p14:creationId xmlns:p14="http://schemas.microsoft.com/office/powerpoint/2010/main" val="1800321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normAutofit fontScale="92500"/>
          </a:bodyPr>
          <a:lstStyle/>
          <a:p>
            <a:pPr>
              <a:spcBef>
                <a:spcPct val="0"/>
              </a:spcBef>
            </a:pPr>
            <a:r>
              <a:rPr lang="es-CO" sz="800" b="1" dirty="0">
                <a:solidFill>
                  <a:schemeClr val="accent5">
                    <a:lumMod val="50000"/>
                  </a:schemeClr>
                </a:solidFill>
                <a:latin typeface="Arial" panose="020B0604020202020204" pitchFamily="34" charset="0"/>
                <a:cs typeface="Arial" panose="020B0604020202020204" pitchFamily="34" charset="0"/>
              </a:rPr>
              <a:t>Compuertas de descarga Intermedia</a:t>
            </a:r>
          </a:p>
          <a:p>
            <a:pPr>
              <a:spcBef>
                <a:spcPct val="0"/>
              </a:spcBef>
            </a:pPr>
            <a:endParaRPr lang="es-CO" sz="800" dirty="0">
              <a:solidFill>
                <a:srgbClr val="92D050"/>
              </a:solidFill>
              <a:latin typeface="Arial" panose="020B0604020202020204" pitchFamily="34" charset="0"/>
              <a:cs typeface="Arial" panose="020B0604020202020204" pitchFamily="34" charset="0"/>
            </a:endParaRPr>
          </a:p>
          <a:p>
            <a:pPr algn="just">
              <a:lnSpc>
                <a:spcPct val="150000"/>
              </a:lnSpc>
              <a:spcBef>
                <a:spcPct val="0"/>
              </a:spcBef>
            </a:pPr>
            <a:r>
              <a:rPr lang="es-CO" sz="800" dirty="0">
                <a:solidFill>
                  <a:schemeClr val="tx1">
                    <a:lumMod val="90000"/>
                    <a:lumOff val="10000"/>
                  </a:schemeClr>
                </a:solidFill>
                <a:latin typeface="Arial" panose="020B0604020202020204" pitchFamily="34" charset="0"/>
                <a:cs typeface="Arial" panose="020B0604020202020204" pitchFamily="34" charset="0"/>
              </a:rPr>
              <a:t>Son elementos de seguridad de la presa considerados “fusibles”, utilizadas para realizar desembalses controlados en el caso de presentarse daños en el muro de la presa. Debido al arrastre de sedimentos que ocasiona la apertura de compuertas de este tipo y sus implicaciones ambientales, l</a:t>
            </a:r>
            <a:r>
              <a:rPr lang="es-ES" sz="800" dirty="0">
                <a:solidFill>
                  <a:schemeClr val="tx1">
                    <a:lumMod val="90000"/>
                    <a:lumOff val="10000"/>
                  </a:schemeClr>
                </a:solidFill>
                <a:latin typeface="Arial" panose="020B0604020202020204" pitchFamily="34" charset="0"/>
                <a:cs typeface="Arial" panose="020B0604020202020204" pitchFamily="34" charset="0"/>
              </a:rPr>
              <a:t>a necesidad de operación se ha de considerar únicamente en cuanto puedan requerirlo aquellas obras, averías o exigencias imprevisibles, pero posibles, que aconsejen su construcción”.</a:t>
            </a:r>
          </a:p>
          <a:p>
            <a:pPr algn="just">
              <a:lnSpc>
                <a:spcPct val="150000"/>
              </a:lnSpc>
              <a:spcBef>
                <a:spcPct val="0"/>
              </a:spcBef>
            </a:pPr>
            <a:r>
              <a:rPr lang="es-ES" sz="800" dirty="0">
                <a:solidFill>
                  <a:schemeClr val="tx1">
                    <a:lumMod val="90000"/>
                    <a:lumOff val="10000"/>
                  </a:schemeClr>
                </a:solidFill>
                <a:latin typeface="Arial" panose="020B0604020202020204" pitchFamily="34" charset="0"/>
                <a:cs typeface="Arial" panose="020B0604020202020204" pitchFamily="34" charset="0"/>
              </a:rPr>
              <a:t>[Santos Madrid, A. </a:t>
            </a:r>
            <a:r>
              <a:rPr lang="es-ES" sz="800" i="1" dirty="0">
                <a:solidFill>
                  <a:schemeClr val="tx1">
                    <a:lumMod val="90000"/>
                    <a:lumOff val="10000"/>
                  </a:schemeClr>
                </a:solidFill>
                <a:latin typeface="Arial" panose="020B0604020202020204" pitchFamily="34" charset="0"/>
                <a:cs typeface="Arial" panose="020B0604020202020204" pitchFamily="34" charset="0"/>
              </a:rPr>
              <a:t>Los Desagües de Fondo en Presas. </a:t>
            </a:r>
            <a:r>
              <a:rPr lang="es-ES" sz="800" dirty="0">
                <a:solidFill>
                  <a:schemeClr val="tx1">
                    <a:lumMod val="90000"/>
                    <a:lumOff val="10000"/>
                  </a:schemeClr>
                </a:solidFill>
                <a:latin typeface="Arial" panose="020B0604020202020204" pitchFamily="34" charset="0"/>
                <a:cs typeface="Arial" panose="020B0604020202020204" pitchFamily="34" charset="0"/>
              </a:rPr>
              <a:t>Comité Nacional Español de Grandes Presas]</a:t>
            </a:r>
          </a:p>
          <a:p>
            <a:pPr marL="285750" lvl="0" indent="-285750">
              <a:lnSpc>
                <a:spcPct val="150000"/>
              </a:lnSpc>
              <a:spcBef>
                <a:spcPts val="0"/>
              </a:spcBef>
              <a:buSzPct val="80000"/>
              <a:buFont typeface="Wingdings" panose="05000000000000000000" pitchFamily="2" charset="2"/>
              <a:buChar char="q"/>
            </a:pPr>
            <a:r>
              <a:rPr lang="es-CO" sz="800" b="1" dirty="0">
                <a:solidFill>
                  <a:schemeClr val="tx2"/>
                </a:solidFill>
                <a:latin typeface="Arial" panose="020B0604020202020204" pitchFamily="34" charset="0"/>
                <a:cs typeface="Arial" panose="020B0604020202020204" pitchFamily="34" charset="0"/>
              </a:rPr>
              <a:t>Compuertas radiales:</a:t>
            </a:r>
            <a:r>
              <a:rPr lang="es-CO" sz="800" dirty="0">
                <a:solidFill>
                  <a:schemeClr val="tx2"/>
                </a:solidFill>
                <a:latin typeface="Arial" panose="020B0604020202020204" pitchFamily="34" charset="0"/>
                <a:cs typeface="Arial" panose="020B0604020202020204" pitchFamily="34" charset="0"/>
              </a:rPr>
              <a:t> 2</a:t>
            </a:r>
          </a:p>
          <a:p>
            <a:pPr marL="285750" lvl="0" indent="-285750">
              <a:lnSpc>
                <a:spcPct val="150000"/>
              </a:lnSpc>
              <a:spcBef>
                <a:spcPts val="0"/>
              </a:spcBef>
              <a:buSzPct val="80000"/>
              <a:buFont typeface="Wingdings" panose="05000000000000000000" pitchFamily="2" charset="2"/>
              <a:buChar char="q"/>
            </a:pPr>
            <a:r>
              <a:rPr lang="es-CO" sz="800" b="1" dirty="0">
                <a:solidFill>
                  <a:schemeClr val="tx2"/>
                </a:solidFill>
                <a:latin typeface="Arial" panose="020B0604020202020204" pitchFamily="34" charset="0"/>
                <a:cs typeface="Arial" panose="020B0604020202020204" pitchFamily="34" charset="0"/>
              </a:rPr>
              <a:t>Elevación del asiento de la compuerta</a:t>
            </a:r>
            <a:r>
              <a:rPr lang="es-CO" sz="800" dirty="0">
                <a:solidFill>
                  <a:schemeClr val="tx2"/>
                </a:solidFill>
                <a:latin typeface="Arial" panose="020B0604020202020204" pitchFamily="34" charset="0"/>
                <a:cs typeface="Arial" panose="020B0604020202020204" pitchFamily="34" charset="0"/>
              </a:rPr>
              <a:t>: 257.8 msnm</a:t>
            </a:r>
          </a:p>
          <a:p>
            <a:pPr marL="285750" lvl="0" indent="-285750">
              <a:lnSpc>
                <a:spcPct val="150000"/>
              </a:lnSpc>
              <a:spcBef>
                <a:spcPts val="0"/>
              </a:spcBef>
              <a:buSzPct val="80000"/>
              <a:buFont typeface="Wingdings" panose="05000000000000000000" pitchFamily="2" charset="2"/>
              <a:buChar char="q"/>
            </a:pPr>
            <a:r>
              <a:rPr lang="es-CO" sz="800" b="1" dirty="0">
                <a:solidFill>
                  <a:schemeClr val="tx2"/>
                </a:solidFill>
                <a:latin typeface="Arial" panose="020B0604020202020204" pitchFamily="34" charset="0"/>
                <a:cs typeface="Arial" panose="020B0604020202020204" pitchFamily="34" charset="0"/>
              </a:rPr>
              <a:t>Caudal máximo de descarga por compuerta: </a:t>
            </a:r>
            <a:r>
              <a:rPr lang="es-CO" sz="800" dirty="0">
                <a:solidFill>
                  <a:schemeClr val="tx2"/>
                </a:solidFill>
                <a:latin typeface="Arial" panose="020B0604020202020204" pitchFamily="34" charset="0"/>
                <a:cs typeface="Arial" panose="020B0604020202020204" pitchFamily="34" charset="0"/>
              </a:rPr>
              <a:t>225 m</a:t>
            </a:r>
            <a:r>
              <a:rPr lang="es-CO" sz="800" baseline="30000" dirty="0">
                <a:solidFill>
                  <a:schemeClr val="tx2"/>
                </a:solidFill>
                <a:latin typeface="Arial" panose="020B0604020202020204" pitchFamily="34" charset="0"/>
                <a:cs typeface="Arial" panose="020B0604020202020204" pitchFamily="34" charset="0"/>
              </a:rPr>
              <a:t>3</a:t>
            </a:r>
            <a:r>
              <a:rPr lang="es-CO" sz="800" dirty="0">
                <a:solidFill>
                  <a:schemeClr val="tx2"/>
                </a:solidFill>
                <a:latin typeface="Arial" panose="020B0604020202020204" pitchFamily="34" charset="0"/>
                <a:cs typeface="Arial" panose="020B0604020202020204" pitchFamily="34" charset="0"/>
              </a:rPr>
              <a:t>/s </a:t>
            </a:r>
          </a:p>
          <a:p>
            <a:pPr marL="285750" lvl="0" indent="-285750">
              <a:lnSpc>
                <a:spcPct val="150000"/>
              </a:lnSpc>
              <a:spcBef>
                <a:spcPts val="0"/>
              </a:spcBef>
              <a:buSzPct val="80000"/>
              <a:buFont typeface="Wingdings" panose="05000000000000000000" pitchFamily="2" charset="2"/>
              <a:buChar char="q"/>
            </a:pPr>
            <a:r>
              <a:rPr lang="es-CO" sz="800" b="1" dirty="0">
                <a:solidFill>
                  <a:srgbClr val="007934"/>
                </a:solidFill>
                <a:latin typeface="Arial" panose="020B0604020202020204" pitchFamily="34" charset="0"/>
                <a:cs typeface="Arial" panose="020B0604020202020204" pitchFamily="34" charset="0"/>
              </a:rPr>
              <a:t>Restricción Operativa: </a:t>
            </a:r>
            <a:r>
              <a:rPr lang="es-CO" sz="800" dirty="0">
                <a:solidFill>
                  <a:srgbClr val="007934"/>
                </a:solidFill>
                <a:latin typeface="Arial" panose="020B0604020202020204" pitchFamily="34" charset="0"/>
                <a:cs typeface="Arial" panose="020B0604020202020204" pitchFamily="34" charset="0"/>
              </a:rPr>
              <a:t>No operar si el nivel del embalse es superior a 404 msnm</a:t>
            </a:r>
          </a:p>
          <a:p>
            <a:pPr algn="just">
              <a:lnSpc>
                <a:spcPct val="150000"/>
              </a:lnSpc>
              <a:spcBef>
                <a:spcPct val="0"/>
              </a:spcBef>
            </a:pPr>
            <a:endParaRPr lang="es-ES" sz="1200" dirty="0"/>
          </a:p>
          <a:p>
            <a:pPr algn="just">
              <a:lnSpc>
                <a:spcPct val="150000"/>
              </a:lnSpc>
              <a:spcBef>
                <a:spcPct val="0"/>
              </a:spcBef>
            </a:pPr>
            <a:r>
              <a:rPr lang="es-ES" sz="1200" dirty="0"/>
              <a:t>Compuertas de Vertedero: La función de los aliviaderos, en caso de avenida, es la de impedir que el nivel del agua del embalse supere el nivel de aguas máximas extraordinarias, para garantizar así  la seguridad de la presa.</a:t>
            </a:r>
          </a:p>
          <a:p>
            <a:pPr algn="just">
              <a:lnSpc>
                <a:spcPct val="150000"/>
              </a:lnSpc>
              <a:spcBef>
                <a:spcPct val="0"/>
              </a:spcBef>
            </a:pPr>
            <a:endParaRPr lang="es-ES" sz="800" dirty="0">
              <a:solidFill>
                <a:schemeClr val="tx1">
                  <a:lumMod val="90000"/>
                  <a:lumOff val="10000"/>
                </a:schemeClr>
              </a:solidFill>
              <a:latin typeface="Arial" panose="020B0604020202020204" pitchFamily="34" charset="0"/>
              <a:cs typeface="Arial" panose="020B0604020202020204" pitchFamily="34" charset="0"/>
            </a:endParaRPr>
          </a:p>
          <a:p>
            <a:pPr marL="285750" lvl="0">
              <a:lnSpc>
                <a:spcPct val="120000"/>
              </a:lnSpc>
              <a:spcBef>
                <a:spcPts val="0"/>
              </a:spcBef>
              <a:buSzPct val="80000"/>
              <a:buFont typeface="Wingdings" panose="05000000000000000000" pitchFamily="2" charset="2"/>
              <a:buChar char="q"/>
            </a:pPr>
            <a:r>
              <a:rPr lang="es-CO" sz="800" b="1" dirty="0">
                <a:solidFill>
                  <a:schemeClr val="tx2"/>
                </a:solidFill>
                <a:latin typeface="Arial" panose="020B0604020202020204" pitchFamily="34" charset="0"/>
                <a:cs typeface="Arial" panose="020B0604020202020204" pitchFamily="34" charset="0"/>
              </a:rPr>
              <a:t>Compuertas radiales:</a:t>
            </a:r>
            <a:r>
              <a:rPr lang="es-CO" sz="800" dirty="0">
                <a:solidFill>
                  <a:schemeClr val="tx2"/>
                </a:solidFill>
                <a:latin typeface="Arial" panose="020B0604020202020204" pitchFamily="34" charset="0"/>
                <a:cs typeface="Arial" panose="020B0604020202020204" pitchFamily="34" charset="0"/>
              </a:rPr>
              <a:t> 4</a:t>
            </a:r>
          </a:p>
          <a:p>
            <a:pPr marL="285750" lvl="0">
              <a:lnSpc>
                <a:spcPct val="120000"/>
              </a:lnSpc>
              <a:spcBef>
                <a:spcPts val="0"/>
              </a:spcBef>
              <a:buSzPct val="80000"/>
              <a:buFont typeface="Wingdings" panose="05000000000000000000" pitchFamily="2" charset="2"/>
              <a:buChar char="q"/>
            </a:pPr>
            <a:r>
              <a:rPr lang="es-CO" sz="800" b="1" dirty="0">
                <a:solidFill>
                  <a:schemeClr val="tx2"/>
                </a:solidFill>
                <a:latin typeface="Arial" panose="020B0604020202020204" pitchFamily="34" charset="0"/>
                <a:cs typeface="Arial" panose="020B0604020202020204" pitchFamily="34" charset="0"/>
              </a:rPr>
              <a:t>Canales de descarga: </a:t>
            </a:r>
            <a:r>
              <a:rPr lang="es-CO" sz="800" dirty="0">
                <a:solidFill>
                  <a:schemeClr val="tx2"/>
                </a:solidFill>
                <a:latin typeface="Arial" panose="020B0604020202020204" pitchFamily="34" charset="0"/>
                <a:cs typeface="Arial" panose="020B0604020202020204" pitchFamily="34" charset="0"/>
              </a:rPr>
              <a:t>2</a:t>
            </a:r>
          </a:p>
          <a:p>
            <a:pPr marL="285750" lvl="0">
              <a:lnSpc>
                <a:spcPct val="120000"/>
              </a:lnSpc>
              <a:spcBef>
                <a:spcPts val="0"/>
              </a:spcBef>
              <a:buSzPct val="80000"/>
              <a:buFont typeface="Wingdings" panose="05000000000000000000" pitchFamily="2" charset="2"/>
              <a:buChar char="q"/>
            </a:pPr>
            <a:r>
              <a:rPr lang="es-CO" sz="800" b="1" dirty="0">
                <a:solidFill>
                  <a:schemeClr val="tx2"/>
                </a:solidFill>
                <a:latin typeface="Arial" panose="020B0604020202020204" pitchFamily="34" charset="0"/>
                <a:cs typeface="Arial" panose="020B0604020202020204" pitchFamily="34" charset="0"/>
              </a:rPr>
              <a:t>Altura de la compuerta</a:t>
            </a:r>
            <a:r>
              <a:rPr lang="es-CO" sz="800" dirty="0">
                <a:solidFill>
                  <a:schemeClr val="tx2"/>
                </a:solidFill>
                <a:latin typeface="Arial" panose="020B0604020202020204" pitchFamily="34" charset="0"/>
                <a:cs typeface="Arial" panose="020B0604020202020204" pitchFamily="34" charset="0"/>
              </a:rPr>
              <a:t>: 21.5 m</a:t>
            </a:r>
          </a:p>
          <a:p>
            <a:pPr marL="285750" lvl="0">
              <a:lnSpc>
                <a:spcPct val="120000"/>
              </a:lnSpc>
              <a:spcBef>
                <a:spcPts val="0"/>
              </a:spcBef>
              <a:buSzPct val="80000"/>
              <a:buFont typeface="Wingdings" panose="05000000000000000000" pitchFamily="2" charset="2"/>
              <a:buChar char="q"/>
            </a:pPr>
            <a:r>
              <a:rPr lang="es-CO" sz="800" b="1" dirty="0">
                <a:solidFill>
                  <a:schemeClr val="tx2"/>
                </a:solidFill>
                <a:latin typeface="Arial" panose="020B0604020202020204" pitchFamily="34" charset="0"/>
                <a:cs typeface="Arial" panose="020B0604020202020204" pitchFamily="34" charset="0"/>
              </a:rPr>
              <a:t>Elevación del asiento de la compuerta</a:t>
            </a:r>
            <a:r>
              <a:rPr lang="es-CO" sz="800" dirty="0">
                <a:solidFill>
                  <a:schemeClr val="tx2"/>
                </a:solidFill>
                <a:latin typeface="Arial" panose="020B0604020202020204" pitchFamily="34" charset="0"/>
                <a:cs typeface="Arial" panose="020B0604020202020204" pitchFamily="34" charset="0"/>
              </a:rPr>
              <a:t>: 400 msnm</a:t>
            </a:r>
          </a:p>
          <a:p>
            <a:pPr marL="285750" lvl="0">
              <a:lnSpc>
                <a:spcPct val="120000"/>
              </a:lnSpc>
              <a:spcBef>
                <a:spcPts val="0"/>
              </a:spcBef>
              <a:buSzPct val="80000"/>
              <a:buFont typeface="Wingdings" panose="05000000000000000000" pitchFamily="2" charset="2"/>
              <a:buChar char="q"/>
            </a:pPr>
            <a:r>
              <a:rPr lang="es-CO" sz="800" b="1" dirty="0">
                <a:solidFill>
                  <a:schemeClr val="tx2"/>
                </a:solidFill>
                <a:latin typeface="Arial" panose="020B0604020202020204" pitchFamily="34" charset="0"/>
                <a:cs typeface="Arial" panose="020B0604020202020204" pitchFamily="34" charset="0"/>
              </a:rPr>
              <a:t>Caudal máximo de descarga del vertedero: </a:t>
            </a:r>
            <a:r>
              <a:rPr lang="es-CO" sz="800" dirty="0">
                <a:solidFill>
                  <a:schemeClr val="tx2"/>
                </a:solidFill>
                <a:latin typeface="Arial" panose="020B0604020202020204" pitchFamily="34" charset="0"/>
                <a:cs typeface="Arial" panose="020B0604020202020204" pitchFamily="34" charset="0"/>
              </a:rPr>
              <a:t>22600 m</a:t>
            </a:r>
            <a:r>
              <a:rPr lang="es-CO" sz="800" baseline="30000" dirty="0">
                <a:solidFill>
                  <a:schemeClr val="tx2"/>
                </a:solidFill>
                <a:latin typeface="Arial" panose="020B0604020202020204" pitchFamily="34" charset="0"/>
                <a:cs typeface="Arial" panose="020B0604020202020204" pitchFamily="34" charset="0"/>
              </a:rPr>
              <a:t>3</a:t>
            </a:r>
            <a:r>
              <a:rPr lang="es-CO" sz="800" dirty="0">
                <a:solidFill>
                  <a:schemeClr val="tx2"/>
                </a:solidFill>
                <a:latin typeface="Arial" panose="020B0604020202020204" pitchFamily="34" charset="0"/>
                <a:cs typeface="Arial" panose="020B0604020202020204" pitchFamily="34" charset="0"/>
              </a:rPr>
              <a:t>/s </a:t>
            </a:r>
          </a:p>
          <a:p>
            <a:pPr marL="285750" lvl="0">
              <a:lnSpc>
                <a:spcPct val="120000"/>
              </a:lnSpc>
              <a:spcBef>
                <a:spcPts val="0"/>
              </a:spcBef>
              <a:buSzPct val="80000"/>
              <a:buFont typeface="Wingdings" panose="05000000000000000000" pitchFamily="2" charset="2"/>
              <a:buChar char="q"/>
            </a:pPr>
            <a:r>
              <a:rPr lang="es-CO" sz="800" b="1" dirty="0">
                <a:solidFill>
                  <a:schemeClr val="tx2"/>
                </a:solidFill>
                <a:latin typeface="Arial" panose="020B0604020202020204" pitchFamily="34" charset="0"/>
                <a:cs typeface="Arial" panose="020B0604020202020204" pitchFamily="34" charset="0"/>
              </a:rPr>
              <a:t>Descarga mínima canal izquierdo: </a:t>
            </a:r>
            <a:r>
              <a:rPr lang="es-CO" sz="800" dirty="0">
                <a:solidFill>
                  <a:schemeClr val="tx2"/>
                </a:solidFill>
                <a:latin typeface="Arial" panose="020B0604020202020204" pitchFamily="34" charset="0"/>
                <a:cs typeface="Arial" panose="020B0604020202020204" pitchFamily="34" charset="0"/>
              </a:rPr>
              <a:t>220 m</a:t>
            </a:r>
            <a:r>
              <a:rPr lang="es-CO" sz="800" baseline="30000" dirty="0">
                <a:solidFill>
                  <a:schemeClr val="tx2"/>
                </a:solidFill>
                <a:latin typeface="Arial" panose="020B0604020202020204" pitchFamily="34" charset="0"/>
                <a:cs typeface="Arial" panose="020B0604020202020204" pitchFamily="34" charset="0"/>
              </a:rPr>
              <a:t>3</a:t>
            </a:r>
            <a:r>
              <a:rPr lang="es-CO" sz="800" dirty="0">
                <a:solidFill>
                  <a:schemeClr val="tx2"/>
                </a:solidFill>
                <a:latin typeface="Arial" panose="020B0604020202020204" pitchFamily="34" charset="0"/>
                <a:cs typeface="Arial" panose="020B0604020202020204" pitchFamily="34" charset="0"/>
              </a:rPr>
              <a:t>/s (compuerta 1)</a:t>
            </a:r>
          </a:p>
          <a:p>
            <a:pPr marL="285750">
              <a:lnSpc>
                <a:spcPct val="120000"/>
              </a:lnSpc>
              <a:spcBef>
                <a:spcPts val="0"/>
              </a:spcBef>
              <a:buSzPct val="80000"/>
              <a:buFont typeface="Wingdings" panose="05000000000000000000" pitchFamily="2" charset="2"/>
              <a:buChar char="q"/>
            </a:pPr>
            <a:r>
              <a:rPr lang="es-CO" sz="800" b="1" dirty="0">
                <a:solidFill>
                  <a:schemeClr val="tx2"/>
                </a:solidFill>
                <a:latin typeface="Arial" panose="020B0604020202020204" pitchFamily="34" charset="0"/>
                <a:cs typeface="Arial" panose="020B0604020202020204" pitchFamily="34" charset="0"/>
              </a:rPr>
              <a:t>Descarga mínima canal derecho</a:t>
            </a:r>
            <a:r>
              <a:rPr lang="es-CO" sz="800" dirty="0">
                <a:solidFill>
                  <a:schemeClr val="tx2"/>
                </a:solidFill>
                <a:latin typeface="Arial" panose="020B0604020202020204" pitchFamily="34" charset="0"/>
                <a:cs typeface="Arial" panose="020B0604020202020204" pitchFamily="34" charset="0"/>
              </a:rPr>
              <a:t>: 550 m</a:t>
            </a:r>
            <a:r>
              <a:rPr lang="es-CO" sz="800" baseline="30000" dirty="0">
                <a:solidFill>
                  <a:schemeClr val="tx2"/>
                </a:solidFill>
                <a:latin typeface="Arial" panose="020B0604020202020204" pitchFamily="34" charset="0"/>
                <a:cs typeface="Arial" panose="020B0604020202020204" pitchFamily="34" charset="0"/>
              </a:rPr>
              <a:t>3</a:t>
            </a:r>
            <a:r>
              <a:rPr lang="es-CO" sz="800" dirty="0">
                <a:solidFill>
                  <a:schemeClr val="tx2"/>
                </a:solidFill>
                <a:latin typeface="Arial" panose="020B0604020202020204" pitchFamily="34" charset="0"/>
                <a:cs typeface="Arial" panose="020B0604020202020204" pitchFamily="34" charset="0"/>
              </a:rPr>
              <a:t>/s (compuertas 2,3 y 4)</a:t>
            </a:r>
          </a:p>
        </p:txBody>
      </p:sp>
      <p:sp>
        <p:nvSpPr>
          <p:cNvPr id="4" name="Marcador de número de diapositiva 3"/>
          <p:cNvSpPr>
            <a:spLocks noGrp="1"/>
          </p:cNvSpPr>
          <p:nvPr>
            <p:ph type="sldNum" sz="quarter" idx="10"/>
          </p:nvPr>
        </p:nvSpPr>
        <p:spPr/>
        <p:txBody>
          <a:bodyPr/>
          <a:lstStyle/>
          <a:p>
            <a:fld id="{00184D17-2FDB-4EC8-BDEC-7A251800F36C}" type="slidenum">
              <a:rPr lang="es-CO" smtClean="0"/>
              <a:pPr/>
              <a:t>29</a:t>
            </a:fld>
            <a:endParaRPr lang="es-CO" dirty="0"/>
          </a:p>
        </p:txBody>
      </p:sp>
    </p:spTree>
    <p:extLst>
      <p:ext uri="{BB962C8B-B14F-4D97-AF65-F5344CB8AC3E}">
        <p14:creationId xmlns:p14="http://schemas.microsoft.com/office/powerpoint/2010/main" val="2282394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normAutofit fontScale="55000" lnSpcReduction="20000"/>
          </a:bodyPr>
          <a:lstStyle/>
          <a:p>
            <a:pPr marL="285750" lvl="0" indent="-285750">
              <a:lnSpc>
                <a:spcPts val="3200"/>
              </a:lnSpc>
              <a:spcBef>
                <a:spcPts val="0"/>
              </a:spcBef>
              <a:buSzPct val="80000"/>
              <a:buFont typeface="Wingdings" panose="05000000000000000000" pitchFamily="2" charset="2"/>
              <a:buChar char="q"/>
            </a:pPr>
            <a:r>
              <a:rPr lang="es-ES" b="1" dirty="0">
                <a:solidFill>
                  <a:schemeClr val="tx2"/>
                </a:solidFill>
                <a:latin typeface="Trebuchet MS" panose="020B0603020202020204" pitchFamily="34" charset="0"/>
              </a:rPr>
              <a:t>Acuerdo C.N.O 430 de 2008 Artículo 1°:  </a:t>
            </a:r>
            <a:r>
              <a:rPr lang="es-ES" dirty="0">
                <a:solidFill>
                  <a:schemeClr val="tx2"/>
                </a:solidFill>
                <a:latin typeface="Trebuchet MS" panose="020B0603020202020204" pitchFamily="34" charset="0"/>
              </a:rPr>
              <a:t>Incluye los Mínimos Obligatorios como una variable de la oferta para el despacho económico.</a:t>
            </a:r>
          </a:p>
          <a:p>
            <a:pPr marL="285750" lvl="0" indent="-285750">
              <a:lnSpc>
                <a:spcPts val="3200"/>
              </a:lnSpc>
              <a:spcBef>
                <a:spcPts val="0"/>
              </a:spcBef>
              <a:buSzPct val="80000"/>
              <a:buFont typeface="Wingdings" panose="05000000000000000000" pitchFamily="2" charset="2"/>
              <a:buChar char="q"/>
            </a:pPr>
            <a:r>
              <a:rPr lang="es-ES" b="1" dirty="0">
                <a:solidFill>
                  <a:schemeClr val="tx2"/>
                </a:solidFill>
                <a:latin typeface="Trebuchet MS" panose="020B0603020202020204" pitchFamily="34" charset="0"/>
              </a:rPr>
              <a:t>Acuerdo C.N.O 572 de 2012 Anexo Artículo 1°, literal c): </a:t>
            </a:r>
            <a:r>
              <a:rPr lang="es-ES" dirty="0">
                <a:solidFill>
                  <a:schemeClr val="tx2"/>
                </a:solidFill>
                <a:latin typeface="Trebuchet MS" panose="020B0603020202020204" pitchFamily="34" charset="0"/>
              </a:rPr>
              <a:t>habilita a las plantas para solicitar los mínimos obligatorios requeridos por la autoridad ambiental</a:t>
            </a:r>
          </a:p>
          <a:p>
            <a:pPr marL="285750" lvl="0" indent="-285750">
              <a:lnSpc>
                <a:spcPts val="3200"/>
              </a:lnSpc>
              <a:spcBef>
                <a:spcPts val="0"/>
              </a:spcBef>
              <a:buSzPct val="80000"/>
              <a:buFont typeface="Wingdings" panose="05000000000000000000" pitchFamily="2" charset="2"/>
              <a:buChar char="q"/>
            </a:pPr>
            <a:r>
              <a:rPr lang="es-ES" b="1" dirty="0">
                <a:solidFill>
                  <a:schemeClr val="tx2"/>
                </a:solidFill>
                <a:latin typeface="Trebuchet MS" panose="020B0603020202020204" pitchFamily="34" charset="0"/>
              </a:rPr>
              <a:t>Acuerdo C.N.O 572 de 2012 Anexo Artículo </a:t>
            </a:r>
            <a:r>
              <a:rPr lang="es-ES" dirty="0">
                <a:solidFill>
                  <a:schemeClr val="tx2"/>
                </a:solidFill>
                <a:latin typeface="Trebuchet MS" panose="020B0603020202020204" pitchFamily="34" charset="0"/>
              </a:rPr>
              <a:t>2°: Establece el procedimiento para solicitar los mínimos obligatorios. </a:t>
            </a:r>
          </a:p>
          <a:p>
            <a:pPr marL="285750" indent="-285750">
              <a:lnSpc>
                <a:spcPts val="3200"/>
              </a:lnSpc>
              <a:spcBef>
                <a:spcPts val="0"/>
              </a:spcBef>
              <a:buSzPct val="80000"/>
              <a:buFont typeface="Wingdings" panose="05000000000000000000" pitchFamily="2" charset="2"/>
              <a:buChar char="q"/>
            </a:pPr>
            <a:r>
              <a:rPr lang="es-ES" b="1" dirty="0">
                <a:solidFill>
                  <a:schemeClr val="tx2"/>
                </a:solidFill>
                <a:latin typeface="Trebuchet MS" panose="020B0603020202020204" pitchFamily="34" charset="0"/>
              </a:rPr>
              <a:t>Resolución ANLA 1891: </a:t>
            </a:r>
            <a:r>
              <a:rPr lang="es-ES" dirty="0">
                <a:solidFill>
                  <a:schemeClr val="tx2"/>
                </a:solidFill>
                <a:latin typeface="Trebuchet MS" panose="020B0603020202020204" pitchFamily="34" charset="0"/>
              </a:rPr>
              <a:t>Requiere que el proyecto no presente variaciones de descargas turbinadas abruptas de una día a otro, limitando la generación por encima de un valor inferior (Mínimo Obligatorio) y por debajo de una generación máxima. </a:t>
            </a:r>
          </a:p>
          <a:p>
            <a:pPr marL="273050" indent="-273050">
              <a:spcBef>
                <a:spcPts val="600"/>
              </a:spcBef>
              <a:spcAft>
                <a:spcPts val="600"/>
              </a:spcAft>
            </a:pPr>
            <a:r>
              <a:rPr lang="es-ES" dirty="0">
                <a:latin typeface="Arial" pitchFamily="34" charset="0"/>
                <a:cs typeface="Arial" pitchFamily="34" charset="0"/>
              </a:rPr>
              <a:t>Inflexibilidad de Unidades: Una unidad es inflexible cuando las características técnicas de la unidad hacen que genere en una hora a pesar de que su precio de oferta es superior al costo marginal del sistema. </a:t>
            </a:r>
          </a:p>
          <a:p>
            <a:pPr marL="273050" indent="-273050">
              <a:spcBef>
                <a:spcPts val="600"/>
              </a:spcBef>
              <a:spcAft>
                <a:spcPts val="600"/>
              </a:spcAft>
            </a:pPr>
            <a:r>
              <a:rPr lang="es-MX" dirty="0">
                <a:latin typeface="Arial" pitchFamily="34" charset="0"/>
                <a:cs typeface="Arial" pitchFamily="34" charset="0"/>
              </a:rPr>
              <a:t>Centrales como Betania, Miel I, y Urrá, entre otras, con algún tipo de restricción ambiental, actualmente hacen uso de esta figura compatibilizando la operación de sus centrales y su venta de energía con restricciones de tipo ambiental.</a:t>
            </a:r>
            <a:endParaRPr lang="es-ES" dirty="0">
              <a:latin typeface="Arial" pitchFamily="34" charset="0"/>
              <a:cs typeface="Arial" pitchFamily="34" charset="0"/>
            </a:endParaRPr>
          </a:p>
        </p:txBody>
      </p:sp>
      <p:sp>
        <p:nvSpPr>
          <p:cNvPr id="4" name="Marcador de número de diapositiva 3"/>
          <p:cNvSpPr>
            <a:spLocks noGrp="1"/>
          </p:cNvSpPr>
          <p:nvPr>
            <p:ph type="sldNum" sz="quarter" idx="10"/>
          </p:nvPr>
        </p:nvSpPr>
        <p:spPr/>
        <p:txBody>
          <a:bodyPr/>
          <a:lstStyle/>
          <a:p>
            <a:fld id="{00184D17-2FDB-4EC8-BDEC-7A251800F36C}" type="slidenum">
              <a:rPr lang="es-CO" smtClean="0"/>
              <a:pPr/>
              <a:t>32</a:t>
            </a:fld>
            <a:endParaRPr lang="es-CO" dirty="0"/>
          </a:p>
        </p:txBody>
      </p:sp>
    </p:spTree>
    <p:extLst>
      <p:ext uri="{BB962C8B-B14F-4D97-AF65-F5344CB8AC3E}">
        <p14:creationId xmlns:p14="http://schemas.microsoft.com/office/powerpoint/2010/main" val="5495567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pic>
        <p:nvPicPr>
          <p:cNvPr id="3" name="2 Imagen" descr="PlantillaInicialPresentacion.jpg"/>
          <p:cNvPicPr>
            <a:picLocks noChangeAspect="1"/>
          </p:cNvPicPr>
          <p:nvPr userDrawn="1"/>
        </p:nvPicPr>
        <p:blipFill>
          <a:blip r:embed="rId2" cstate="print"/>
          <a:stretch>
            <a:fillRect/>
          </a:stretch>
        </p:blipFill>
        <p:spPr>
          <a:xfrm>
            <a:off x="0" y="0"/>
            <a:ext cx="9144000" cy="68580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ítulo - 2 Textos - 2 Imagenes">
    <p:spTree>
      <p:nvGrpSpPr>
        <p:cNvPr id="1" name=""/>
        <p:cNvGrpSpPr/>
        <p:nvPr/>
      </p:nvGrpSpPr>
      <p:grpSpPr>
        <a:xfrm>
          <a:off x="0" y="0"/>
          <a:ext cx="0" cy="0"/>
          <a:chOff x="0" y="0"/>
          <a:chExt cx="0" cy="0"/>
        </a:xfrm>
      </p:grpSpPr>
      <p:pic>
        <p:nvPicPr>
          <p:cNvPr id="11" name="10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12" name="11 Marcador de texto"/>
          <p:cNvSpPr>
            <a:spLocks noGrp="1"/>
          </p:cNvSpPr>
          <p:nvPr>
            <p:ph type="body" sz="quarter" idx="19"/>
          </p:nvPr>
        </p:nvSpPr>
        <p:spPr>
          <a:xfrm>
            <a:off x="466724" y="1448588"/>
            <a:ext cx="3978000" cy="2147888"/>
          </a:xfrm>
          <a:prstGeom prst="rect">
            <a:avLst/>
          </a:prstGeom>
          <a:ln>
            <a:noFill/>
          </a:ln>
        </p:spPr>
        <p:txBody>
          <a:bodyPr lIns="0" tIns="0" rIns="0" bIns="0" anchor="t"/>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0" name="11 Marcador de texto"/>
          <p:cNvSpPr>
            <a:spLocks noGrp="1"/>
          </p:cNvSpPr>
          <p:nvPr>
            <p:ph type="body" sz="quarter" idx="20"/>
          </p:nvPr>
        </p:nvSpPr>
        <p:spPr>
          <a:xfrm>
            <a:off x="4680012" y="1448588"/>
            <a:ext cx="3740088" cy="2147888"/>
          </a:xfrm>
          <a:prstGeom prst="rect">
            <a:avLst/>
          </a:prstGeom>
          <a:ln>
            <a:noFill/>
          </a:ln>
        </p:spPr>
        <p:txBody>
          <a:bodyPr lIns="0" tIns="0" rIns="0" bIns="0" anchor="t"/>
          <a:lstStyle>
            <a:lvl1pPr marL="0" marR="0" indent="0" algn="just" defTabSz="914400" rtl="0" eaLnBrk="1" fontAlgn="auto" latinLnBrk="0" hangingPunct="1">
              <a:lnSpc>
                <a:spcPct val="100000"/>
              </a:lnSpc>
              <a:spcBef>
                <a:spcPct val="20000"/>
              </a:spcBef>
              <a:spcAft>
                <a:spcPts val="0"/>
              </a:spcAft>
              <a:buClrTx/>
              <a:buSzTx/>
              <a:buFontTx/>
              <a:buNone/>
              <a:tabLst/>
              <a:defRPr lang="es-CO" sz="1600" kern="1200" baseline="0" dirty="0" smtClean="0">
                <a:solidFill>
                  <a:schemeClr val="tx1">
                    <a:lumMod val="50000"/>
                    <a:lumOff val="50000"/>
                  </a:schemeClr>
                </a:solidFill>
                <a:latin typeface="+mn-lt"/>
                <a:ea typeface="+mn-ea"/>
                <a:cs typeface="+mn-cs"/>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5" name="3 Marcador de contenido"/>
          <p:cNvSpPr>
            <a:spLocks noGrp="1"/>
          </p:cNvSpPr>
          <p:nvPr>
            <p:ph sz="quarter" idx="22" hasCustomPrompt="1"/>
          </p:nvPr>
        </p:nvSpPr>
        <p:spPr>
          <a:xfrm>
            <a:off x="4680012" y="3786678"/>
            <a:ext cx="3740400" cy="2154725"/>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6" name="3 Marcador de contenido"/>
          <p:cNvSpPr>
            <a:spLocks noGrp="1"/>
          </p:cNvSpPr>
          <p:nvPr>
            <p:ph sz="quarter" idx="23" hasCustomPrompt="1"/>
          </p:nvPr>
        </p:nvSpPr>
        <p:spPr>
          <a:xfrm>
            <a:off x="466724" y="3786678"/>
            <a:ext cx="3978000" cy="2154725"/>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2" name="1 Marcador de número de diapositiva"/>
          <p:cNvSpPr>
            <a:spLocks noGrp="1"/>
          </p:cNvSpPr>
          <p:nvPr>
            <p:ph type="sldNum" sz="quarter" idx="24"/>
          </p:nvPr>
        </p:nvSpPr>
        <p:spPr/>
        <p:txBody>
          <a:bodyPr/>
          <a:lstStyle/>
          <a:p>
            <a:fld id="{E342E011-D739-4258-81A8-D148B475F0B5}" type="slidenum">
              <a:rPr lang="es-CO" smtClean="0"/>
              <a:pPr/>
              <a:t>‹Nº›</a:t>
            </a:fld>
            <a:endParaRPr lang="es-CO" dirty="0"/>
          </a:p>
        </p:txBody>
      </p:sp>
    </p:spTree>
    <p:extLst>
      <p:ext uri="{BB962C8B-B14F-4D97-AF65-F5344CB8AC3E}">
        <p14:creationId xmlns:p14="http://schemas.microsoft.com/office/powerpoint/2010/main" val="1292755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ítulo - 2 Textos Cortos - 2 Imagenes">
    <p:spTree>
      <p:nvGrpSpPr>
        <p:cNvPr id="1" name=""/>
        <p:cNvGrpSpPr/>
        <p:nvPr/>
      </p:nvGrpSpPr>
      <p:grpSpPr>
        <a:xfrm>
          <a:off x="0" y="0"/>
          <a:ext cx="0" cy="0"/>
          <a:chOff x="0" y="0"/>
          <a:chExt cx="0" cy="0"/>
        </a:xfrm>
      </p:grpSpPr>
      <p:pic>
        <p:nvPicPr>
          <p:cNvPr id="10" name="9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3 Marcador de contenido"/>
          <p:cNvSpPr>
            <a:spLocks noGrp="1"/>
          </p:cNvSpPr>
          <p:nvPr>
            <p:ph sz="quarter" idx="18" hasCustomPrompt="1"/>
          </p:nvPr>
        </p:nvSpPr>
        <p:spPr>
          <a:xfrm>
            <a:off x="4680012" y="2095664"/>
            <a:ext cx="3740400" cy="3854198"/>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1" name="3 Marcador de contenido"/>
          <p:cNvSpPr>
            <a:spLocks noGrp="1"/>
          </p:cNvSpPr>
          <p:nvPr>
            <p:ph sz="quarter" idx="21" hasCustomPrompt="1"/>
          </p:nvPr>
        </p:nvSpPr>
        <p:spPr>
          <a:xfrm>
            <a:off x="466724" y="2095664"/>
            <a:ext cx="3978000" cy="3854198"/>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5" name="11 Marcador de texto"/>
          <p:cNvSpPr>
            <a:spLocks noGrp="1"/>
          </p:cNvSpPr>
          <p:nvPr>
            <p:ph type="body" sz="quarter" idx="22"/>
          </p:nvPr>
        </p:nvSpPr>
        <p:spPr>
          <a:xfrm>
            <a:off x="466724" y="1453019"/>
            <a:ext cx="3978000" cy="540120"/>
          </a:xfrm>
          <a:prstGeom prst="rect">
            <a:avLst/>
          </a:prstGeom>
          <a:ln>
            <a:noFill/>
          </a:ln>
        </p:spPr>
        <p:txBody>
          <a:bodyPr lIns="0" tIns="0" rIns="0" bIns="0" anchor="ctr"/>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6" name="11 Marcador de texto"/>
          <p:cNvSpPr>
            <a:spLocks noGrp="1"/>
          </p:cNvSpPr>
          <p:nvPr>
            <p:ph type="body" sz="quarter" idx="23"/>
          </p:nvPr>
        </p:nvSpPr>
        <p:spPr>
          <a:xfrm>
            <a:off x="4680012" y="1453019"/>
            <a:ext cx="3740088" cy="540120"/>
          </a:xfrm>
          <a:prstGeom prst="rect">
            <a:avLst/>
          </a:prstGeom>
          <a:ln>
            <a:noFill/>
          </a:ln>
        </p:spPr>
        <p:txBody>
          <a:bodyPr lIns="0" tIns="0" rIns="0" bIns="0" anchor="ctr"/>
          <a:lstStyle>
            <a:lvl1pPr marL="0" marR="0" indent="0" algn="just" defTabSz="914400" rtl="0" eaLnBrk="1" fontAlgn="auto" latinLnBrk="0" hangingPunct="1">
              <a:lnSpc>
                <a:spcPct val="100000"/>
              </a:lnSpc>
              <a:spcBef>
                <a:spcPct val="20000"/>
              </a:spcBef>
              <a:spcAft>
                <a:spcPts val="0"/>
              </a:spcAft>
              <a:buClrTx/>
              <a:buSzTx/>
              <a:buFontTx/>
              <a:buNone/>
              <a:tabLst/>
              <a:defRPr lang="es-CO" sz="1600" kern="1200" baseline="0" dirty="0" smtClean="0">
                <a:solidFill>
                  <a:schemeClr val="tx1">
                    <a:lumMod val="50000"/>
                    <a:lumOff val="50000"/>
                  </a:schemeClr>
                </a:solidFill>
                <a:latin typeface="+mn-lt"/>
                <a:ea typeface="+mn-ea"/>
                <a:cs typeface="+mn-cs"/>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2" name="1 Marcador de número de diapositiva"/>
          <p:cNvSpPr>
            <a:spLocks noGrp="1"/>
          </p:cNvSpPr>
          <p:nvPr>
            <p:ph type="sldNum" sz="quarter" idx="24"/>
          </p:nvPr>
        </p:nvSpPr>
        <p:spPr/>
        <p:txBody>
          <a:bodyPr/>
          <a:lstStyle/>
          <a:p>
            <a:fld id="{E342E011-D739-4258-81A8-D148B475F0B5}" type="slidenum">
              <a:rPr lang="es-CO" smtClean="0"/>
              <a:pPr/>
              <a:t>‹Nº›</a:t>
            </a:fld>
            <a:endParaRPr lang="es-CO" dirty="0"/>
          </a:p>
        </p:txBody>
      </p:sp>
    </p:spTree>
    <p:extLst>
      <p:ext uri="{BB962C8B-B14F-4D97-AF65-F5344CB8AC3E}">
        <p14:creationId xmlns:p14="http://schemas.microsoft.com/office/powerpoint/2010/main" val="12927553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ítulo - Subtítulo - Texto">
    <p:spTree>
      <p:nvGrpSpPr>
        <p:cNvPr id="1" name=""/>
        <p:cNvGrpSpPr/>
        <p:nvPr/>
      </p:nvGrpSpPr>
      <p:grpSpPr>
        <a:xfrm>
          <a:off x="0" y="0"/>
          <a:ext cx="0" cy="0"/>
          <a:chOff x="0" y="0"/>
          <a:chExt cx="0" cy="0"/>
        </a:xfrm>
      </p:grpSpPr>
      <p:pic>
        <p:nvPicPr>
          <p:cNvPr id="9" name="8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7"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1"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2" name="11 Marcador de texto"/>
          <p:cNvSpPr>
            <a:spLocks noGrp="1"/>
          </p:cNvSpPr>
          <p:nvPr>
            <p:ph type="body" sz="quarter" idx="19"/>
          </p:nvPr>
        </p:nvSpPr>
        <p:spPr>
          <a:xfrm>
            <a:off x="466724" y="1703540"/>
            <a:ext cx="7953376" cy="4235298"/>
          </a:xfrm>
          <a:prstGeom prst="rect">
            <a:avLst/>
          </a:prstGeom>
          <a:ln>
            <a:noFill/>
          </a:ln>
        </p:spPr>
        <p:txBody>
          <a:bodyPr lIns="0" tIns="0" rIns="0" bIns="0" anchor="t"/>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lvl="0"/>
            <a:endParaRPr lang="es-CO" dirty="0"/>
          </a:p>
        </p:txBody>
      </p:sp>
      <p:sp>
        <p:nvSpPr>
          <p:cNvPr id="10" name="2 Marcador de texto"/>
          <p:cNvSpPr>
            <a:spLocks noGrp="1"/>
          </p:cNvSpPr>
          <p:nvPr>
            <p:ph type="body" idx="15" hasCustomPrompt="1"/>
          </p:nvPr>
        </p:nvSpPr>
        <p:spPr>
          <a:xfrm>
            <a:off x="457200" y="1155568"/>
            <a:ext cx="7930800" cy="432048"/>
          </a:xfrm>
          <a:prstGeom prst="rect">
            <a:avLst/>
          </a:prstGeom>
        </p:spPr>
        <p:txBody>
          <a:bodyPr lIns="0" tIns="0" rIns="0" bIns="0" anchor="ctr"/>
          <a:lstStyle>
            <a:lvl1pPr marL="0" indent="0">
              <a:buNone/>
              <a:defRPr sz="20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Subtitulo principal presentación</a:t>
            </a:r>
          </a:p>
        </p:txBody>
      </p:sp>
      <p:sp>
        <p:nvSpPr>
          <p:cNvPr id="2" name="1 Marcador de número de diapositiva"/>
          <p:cNvSpPr>
            <a:spLocks noGrp="1"/>
          </p:cNvSpPr>
          <p:nvPr>
            <p:ph type="sldNum" sz="quarter" idx="20"/>
          </p:nvPr>
        </p:nvSpPr>
        <p:spPr/>
        <p:txBody>
          <a:bodyPr/>
          <a:lstStyle/>
          <a:p>
            <a:fld id="{E342E011-D739-4258-81A8-D148B475F0B5}" type="slidenum">
              <a:rPr lang="es-CO" smtClean="0"/>
              <a:pPr/>
              <a:t>‹Nº›</a:t>
            </a:fld>
            <a:endParaRPr lang="es-CO"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ítulo - Subtítulo - Imagen">
    <p:spTree>
      <p:nvGrpSpPr>
        <p:cNvPr id="1" name=""/>
        <p:cNvGrpSpPr/>
        <p:nvPr/>
      </p:nvGrpSpPr>
      <p:grpSpPr>
        <a:xfrm>
          <a:off x="0" y="0"/>
          <a:ext cx="0" cy="0"/>
          <a:chOff x="0" y="0"/>
          <a:chExt cx="0" cy="0"/>
        </a:xfrm>
      </p:grpSpPr>
      <p:pic>
        <p:nvPicPr>
          <p:cNvPr id="12" name="11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5" name="1 Título"/>
          <p:cNvSpPr txBox="1">
            <a:spLocks/>
          </p:cNvSpPr>
          <p:nvPr userDrawn="1"/>
        </p:nvSpPr>
        <p:spPr>
          <a:xfrm>
            <a:off x="457200" y="1340768"/>
            <a:ext cx="7571184" cy="504056"/>
          </a:xfrm>
          <a:prstGeom prst="rect">
            <a:avLst/>
          </a:prstGeom>
        </p:spPr>
        <p:txBody>
          <a:bodyPr>
            <a:normAutofit/>
          </a:bodyPr>
          <a:lstStyle>
            <a:lvl1pPr algn="l">
              <a:defRPr sz="2800" b="1">
                <a:solidFill>
                  <a:srgbClr val="007934"/>
                </a:solidFill>
                <a:latin typeface="Trebuchet MS"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CO" sz="2400" b="1" i="0" u="none" strike="noStrike" kern="1200" cap="none" spc="0" normalizeH="0" baseline="0" noProof="0" dirty="0">
              <a:ln>
                <a:noFill/>
              </a:ln>
              <a:solidFill>
                <a:srgbClr val="5DBF0C"/>
              </a:solidFill>
              <a:effectLst/>
              <a:uLnTx/>
              <a:uFillTx/>
              <a:latin typeface="Trebuchet MS" pitchFamily="34" charset="0"/>
              <a:ea typeface="+mj-ea"/>
              <a:cs typeface="+mj-cs"/>
            </a:endParaRPr>
          </a:p>
        </p:txBody>
      </p:sp>
      <p:sp>
        <p:nvSpPr>
          <p:cNvPr id="8"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9"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1" name="3 Marcador de contenido"/>
          <p:cNvSpPr>
            <a:spLocks noGrp="1"/>
          </p:cNvSpPr>
          <p:nvPr>
            <p:ph sz="quarter" idx="18" hasCustomPrompt="1"/>
          </p:nvPr>
        </p:nvSpPr>
        <p:spPr>
          <a:xfrm>
            <a:off x="466725" y="1701478"/>
            <a:ext cx="7932338" cy="4236260"/>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0" name="2 Marcador de texto"/>
          <p:cNvSpPr>
            <a:spLocks noGrp="1"/>
          </p:cNvSpPr>
          <p:nvPr>
            <p:ph type="body" idx="15" hasCustomPrompt="1"/>
          </p:nvPr>
        </p:nvSpPr>
        <p:spPr>
          <a:xfrm>
            <a:off x="457200" y="1155568"/>
            <a:ext cx="7930800" cy="432048"/>
          </a:xfrm>
          <a:prstGeom prst="rect">
            <a:avLst/>
          </a:prstGeom>
        </p:spPr>
        <p:txBody>
          <a:bodyPr lIns="0" tIns="0" rIns="0" bIns="0" anchor="ctr"/>
          <a:lstStyle>
            <a:lvl1pPr marL="0" indent="0">
              <a:buNone/>
              <a:defRPr sz="20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Subtitulo principal presentación</a:t>
            </a:r>
          </a:p>
        </p:txBody>
      </p:sp>
      <p:sp>
        <p:nvSpPr>
          <p:cNvPr id="2" name="1 Marcador de número de diapositiva"/>
          <p:cNvSpPr>
            <a:spLocks noGrp="1"/>
          </p:cNvSpPr>
          <p:nvPr>
            <p:ph type="sldNum" sz="quarter" idx="19"/>
          </p:nvPr>
        </p:nvSpPr>
        <p:spPr/>
        <p:txBody>
          <a:bodyPr/>
          <a:lstStyle/>
          <a:p>
            <a:fld id="{E342E011-D739-4258-81A8-D148B475F0B5}" type="slidenum">
              <a:rPr lang="es-CO" smtClean="0"/>
              <a:pPr/>
              <a:t>‹Nº›</a:t>
            </a:fld>
            <a:endParaRPr lang="es-CO" dirty="0"/>
          </a:p>
        </p:txBody>
      </p:sp>
    </p:spTree>
    <p:extLst>
      <p:ext uri="{BB962C8B-B14F-4D97-AF65-F5344CB8AC3E}">
        <p14:creationId xmlns:p14="http://schemas.microsoft.com/office/powerpoint/2010/main" val="38346201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ítulo - Subtítulo - Texto - Imagen">
    <p:spTree>
      <p:nvGrpSpPr>
        <p:cNvPr id="1" name=""/>
        <p:cNvGrpSpPr/>
        <p:nvPr/>
      </p:nvGrpSpPr>
      <p:grpSpPr>
        <a:xfrm>
          <a:off x="0" y="0"/>
          <a:ext cx="0" cy="0"/>
          <a:chOff x="0" y="0"/>
          <a:chExt cx="0" cy="0"/>
        </a:xfrm>
      </p:grpSpPr>
      <p:pic>
        <p:nvPicPr>
          <p:cNvPr id="9" name="8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3 Marcador de contenido"/>
          <p:cNvSpPr>
            <a:spLocks noGrp="1"/>
          </p:cNvSpPr>
          <p:nvPr>
            <p:ph sz="quarter" idx="18" hasCustomPrompt="1"/>
          </p:nvPr>
        </p:nvSpPr>
        <p:spPr>
          <a:xfrm>
            <a:off x="4691063" y="1701848"/>
            <a:ext cx="3708000" cy="4236989"/>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2" name="11 Marcador de texto"/>
          <p:cNvSpPr>
            <a:spLocks noGrp="1"/>
          </p:cNvSpPr>
          <p:nvPr>
            <p:ph type="body" sz="quarter" idx="19"/>
          </p:nvPr>
        </p:nvSpPr>
        <p:spPr>
          <a:xfrm>
            <a:off x="466724" y="1700808"/>
            <a:ext cx="3978000" cy="4238029"/>
          </a:xfrm>
          <a:prstGeom prst="rect">
            <a:avLst/>
          </a:prstGeom>
          <a:ln>
            <a:noFill/>
          </a:ln>
        </p:spPr>
        <p:txBody>
          <a:bodyPr lIns="0" tIns="0" rIns="0" bIns="0" anchor="t"/>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lvl="0"/>
            <a:endParaRPr lang="es-CO" dirty="0"/>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0" name="2 Marcador de texto"/>
          <p:cNvSpPr>
            <a:spLocks noGrp="1"/>
          </p:cNvSpPr>
          <p:nvPr>
            <p:ph type="body" idx="15" hasCustomPrompt="1"/>
          </p:nvPr>
        </p:nvSpPr>
        <p:spPr>
          <a:xfrm>
            <a:off x="457200" y="1155568"/>
            <a:ext cx="7930800" cy="432048"/>
          </a:xfrm>
          <a:prstGeom prst="rect">
            <a:avLst/>
          </a:prstGeom>
        </p:spPr>
        <p:txBody>
          <a:bodyPr lIns="0" tIns="0" rIns="0" bIns="0" anchor="ctr"/>
          <a:lstStyle>
            <a:lvl1pPr marL="0" indent="0">
              <a:buNone/>
              <a:defRPr sz="20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Subtitulo principal presentación</a:t>
            </a:r>
          </a:p>
        </p:txBody>
      </p:sp>
      <p:sp>
        <p:nvSpPr>
          <p:cNvPr id="2" name="1 Marcador de número de diapositiva"/>
          <p:cNvSpPr>
            <a:spLocks noGrp="1"/>
          </p:cNvSpPr>
          <p:nvPr>
            <p:ph type="sldNum" sz="quarter" idx="20"/>
          </p:nvPr>
        </p:nvSpPr>
        <p:spPr/>
        <p:txBody>
          <a:bodyPr/>
          <a:lstStyle/>
          <a:p>
            <a:fld id="{E342E011-D739-4258-81A8-D148B475F0B5}" type="slidenum">
              <a:rPr lang="es-CO" smtClean="0"/>
              <a:pPr/>
              <a:t>‹Nº›</a:t>
            </a:fld>
            <a:endParaRPr lang="es-CO" dirty="0"/>
          </a:p>
        </p:txBody>
      </p:sp>
    </p:spTree>
    <p:extLst>
      <p:ext uri="{BB962C8B-B14F-4D97-AF65-F5344CB8AC3E}">
        <p14:creationId xmlns:p14="http://schemas.microsoft.com/office/powerpoint/2010/main" val="16922495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ítulo - Subtítulo - Imagen - Texto ">
    <p:spTree>
      <p:nvGrpSpPr>
        <p:cNvPr id="1" name=""/>
        <p:cNvGrpSpPr/>
        <p:nvPr/>
      </p:nvGrpSpPr>
      <p:grpSpPr>
        <a:xfrm>
          <a:off x="0" y="0"/>
          <a:ext cx="0" cy="0"/>
          <a:chOff x="0" y="0"/>
          <a:chExt cx="0" cy="0"/>
        </a:xfrm>
      </p:grpSpPr>
      <p:pic>
        <p:nvPicPr>
          <p:cNvPr id="9" name="8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12" name="11 Marcador de texto"/>
          <p:cNvSpPr>
            <a:spLocks noGrp="1"/>
          </p:cNvSpPr>
          <p:nvPr>
            <p:ph type="body" sz="quarter" idx="19"/>
          </p:nvPr>
        </p:nvSpPr>
        <p:spPr>
          <a:xfrm>
            <a:off x="4410000" y="1700808"/>
            <a:ext cx="3978000" cy="4238029"/>
          </a:xfrm>
          <a:prstGeom prst="rect">
            <a:avLst/>
          </a:prstGeom>
          <a:ln>
            <a:noFill/>
          </a:ln>
        </p:spPr>
        <p:txBody>
          <a:bodyPr lIns="0" tIns="0" rIns="0" bIns="0" anchor="t"/>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lvl="0"/>
            <a:endParaRPr lang="es-CO" dirty="0"/>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0" name="2 Marcador de texto"/>
          <p:cNvSpPr>
            <a:spLocks noGrp="1"/>
          </p:cNvSpPr>
          <p:nvPr>
            <p:ph type="body" idx="15" hasCustomPrompt="1"/>
          </p:nvPr>
        </p:nvSpPr>
        <p:spPr>
          <a:xfrm>
            <a:off x="457200" y="1155568"/>
            <a:ext cx="7930800" cy="432048"/>
          </a:xfrm>
          <a:prstGeom prst="rect">
            <a:avLst/>
          </a:prstGeom>
        </p:spPr>
        <p:txBody>
          <a:bodyPr lIns="0" tIns="0" rIns="0" bIns="0" anchor="ctr"/>
          <a:lstStyle>
            <a:lvl1pPr marL="0" indent="0">
              <a:buNone/>
              <a:defRPr sz="20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Subtitulo principal presentación</a:t>
            </a:r>
          </a:p>
        </p:txBody>
      </p:sp>
      <p:sp>
        <p:nvSpPr>
          <p:cNvPr id="11" name="3 Marcador de contenido"/>
          <p:cNvSpPr>
            <a:spLocks noGrp="1"/>
          </p:cNvSpPr>
          <p:nvPr>
            <p:ph sz="quarter" idx="20" hasCustomPrompt="1"/>
          </p:nvPr>
        </p:nvSpPr>
        <p:spPr>
          <a:xfrm>
            <a:off x="519896" y="1701848"/>
            <a:ext cx="3708000" cy="4236989"/>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2" name="1 Marcador de número de diapositiva"/>
          <p:cNvSpPr>
            <a:spLocks noGrp="1"/>
          </p:cNvSpPr>
          <p:nvPr>
            <p:ph type="sldNum" sz="quarter" idx="21"/>
          </p:nvPr>
        </p:nvSpPr>
        <p:spPr/>
        <p:txBody>
          <a:bodyPr/>
          <a:lstStyle/>
          <a:p>
            <a:fld id="{E342E011-D739-4258-81A8-D148B475F0B5}" type="slidenum">
              <a:rPr lang="es-CO" smtClean="0"/>
              <a:pPr/>
              <a:t>‹Nº›</a:t>
            </a:fld>
            <a:endParaRPr lang="es-CO" dirty="0"/>
          </a:p>
        </p:txBody>
      </p:sp>
    </p:spTree>
    <p:extLst>
      <p:ext uri="{BB962C8B-B14F-4D97-AF65-F5344CB8AC3E}">
        <p14:creationId xmlns:p14="http://schemas.microsoft.com/office/powerpoint/2010/main" val="16922495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ítulo - Subtítulo - 2 Imagenes - 2 Textos">
    <p:spTree>
      <p:nvGrpSpPr>
        <p:cNvPr id="1" name=""/>
        <p:cNvGrpSpPr/>
        <p:nvPr/>
      </p:nvGrpSpPr>
      <p:grpSpPr>
        <a:xfrm>
          <a:off x="0" y="0"/>
          <a:ext cx="0" cy="0"/>
          <a:chOff x="0" y="0"/>
          <a:chExt cx="0" cy="0"/>
        </a:xfrm>
      </p:grpSpPr>
      <p:pic>
        <p:nvPicPr>
          <p:cNvPr id="16" name="15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3 Marcador de contenido"/>
          <p:cNvSpPr>
            <a:spLocks noGrp="1"/>
          </p:cNvSpPr>
          <p:nvPr>
            <p:ph sz="quarter" idx="18" hasCustomPrompt="1"/>
          </p:nvPr>
        </p:nvSpPr>
        <p:spPr>
          <a:xfrm>
            <a:off x="4680012" y="1701478"/>
            <a:ext cx="3740400" cy="2231578"/>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2" name="11 Marcador de texto"/>
          <p:cNvSpPr>
            <a:spLocks noGrp="1"/>
          </p:cNvSpPr>
          <p:nvPr>
            <p:ph type="body" sz="quarter" idx="19"/>
          </p:nvPr>
        </p:nvSpPr>
        <p:spPr>
          <a:xfrm>
            <a:off x="466724" y="4051140"/>
            <a:ext cx="3978000" cy="1887698"/>
          </a:xfrm>
          <a:prstGeom prst="rect">
            <a:avLst/>
          </a:prstGeom>
          <a:ln>
            <a:noFill/>
          </a:ln>
        </p:spPr>
        <p:txBody>
          <a:bodyPr lIns="0" tIns="0" rIns="0" bIns="0" anchor="t"/>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0" name="11 Marcador de texto"/>
          <p:cNvSpPr>
            <a:spLocks noGrp="1"/>
          </p:cNvSpPr>
          <p:nvPr>
            <p:ph type="body" sz="quarter" idx="20"/>
          </p:nvPr>
        </p:nvSpPr>
        <p:spPr>
          <a:xfrm>
            <a:off x="4680012" y="4051140"/>
            <a:ext cx="3740088" cy="1887698"/>
          </a:xfrm>
          <a:prstGeom prst="rect">
            <a:avLst/>
          </a:prstGeom>
          <a:ln>
            <a:noFill/>
          </a:ln>
        </p:spPr>
        <p:txBody>
          <a:bodyPr lIns="0" tIns="0" rIns="0" bIns="0" anchor="t"/>
          <a:lstStyle>
            <a:lvl1pPr marL="0" marR="0" indent="0" algn="just" defTabSz="914400" rtl="0" eaLnBrk="1" fontAlgn="auto" latinLnBrk="0" hangingPunct="1">
              <a:lnSpc>
                <a:spcPct val="100000"/>
              </a:lnSpc>
              <a:spcBef>
                <a:spcPct val="20000"/>
              </a:spcBef>
              <a:spcAft>
                <a:spcPts val="0"/>
              </a:spcAft>
              <a:buClrTx/>
              <a:buSzTx/>
              <a:buFontTx/>
              <a:buNone/>
              <a:tabLst/>
              <a:defRPr lang="es-CO" sz="1600" kern="1200" baseline="0" dirty="0" smtClean="0">
                <a:solidFill>
                  <a:schemeClr val="tx1">
                    <a:lumMod val="50000"/>
                    <a:lumOff val="50000"/>
                  </a:schemeClr>
                </a:solidFill>
                <a:latin typeface="+mn-lt"/>
                <a:ea typeface="+mn-ea"/>
                <a:cs typeface="+mn-cs"/>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1" name="3 Marcador de contenido"/>
          <p:cNvSpPr>
            <a:spLocks noGrp="1"/>
          </p:cNvSpPr>
          <p:nvPr>
            <p:ph sz="quarter" idx="21" hasCustomPrompt="1"/>
          </p:nvPr>
        </p:nvSpPr>
        <p:spPr>
          <a:xfrm>
            <a:off x="466724" y="1701478"/>
            <a:ext cx="3978000" cy="2231578"/>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5" name="2 Marcador de texto"/>
          <p:cNvSpPr>
            <a:spLocks noGrp="1"/>
          </p:cNvSpPr>
          <p:nvPr>
            <p:ph type="body" idx="15" hasCustomPrompt="1"/>
          </p:nvPr>
        </p:nvSpPr>
        <p:spPr>
          <a:xfrm>
            <a:off x="457200" y="1155568"/>
            <a:ext cx="7930800" cy="432048"/>
          </a:xfrm>
          <a:prstGeom prst="rect">
            <a:avLst/>
          </a:prstGeom>
        </p:spPr>
        <p:txBody>
          <a:bodyPr lIns="0" tIns="0" rIns="0" bIns="0" anchor="ctr"/>
          <a:lstStyle>
            <a:lvl1pPr marL="0" indent="0">
              <a:buNone/>
              <a:defRPr sz="20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Subtitulo principal presentación</a:t>
            </a:r>
          </a:p>
        </p:txBody>
      </p:sp>
      <p:sp>
        <p:nvSpPr>
          <p:cNvPr id="2" name="1 Marcador de número de diapositiva"/>
          <p:cNvSpPr>
            <a:spLocks noGrp="1"/>
          </p:cNvSpPr>
          <p:nvPr>
            <p:ph type="sldNum" sz="quarter" idx="22"/>
          </p:nvPr>
        </p:nvSpPr>
        <p:spPr/>
        <p:txBody>
          <a:bodyPr/>
          <a:lstStyle/>
          <a:p>
            <a:fld id="{E342E011-D739-4258-81A8-D148B475F0B5}" type="slidenum">
              <a:rPr lang="es-CO" smtClean="0"/>
              <a:pPr/>
              <a:t>‹Nº›</a:t>
            </a:fld>
            <a:endParaRPr lang="es-CO" dirty="0"/>
          </a:p>
        </p:txBody>
      </p:sp>
    </p:spTree>
    <p:extLst>
      <p:ext uri="{BB962C8B-B14F-4D97-AF65-F5344CB8AC3E}">
        <p14:creationId xmlns:p14="http://schemas.microsoft.com/office/powerpoint/2010/main" val="12927553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ítulo - Subtítulo - 2 Imagenes - 2 Textos Cortos">
    <p:spTree>
      <p:nvGrpSpPr>
        <p:cNvPr id="1" name=""/>
        <p:cNvGrpSpPr/>
        <p:nvPr/>
      </p:nvGrpSpPr>
      <p:grpSpPr>
        <a:xfrm>
          <a:off x="0" y="0"/>
          <a:ext cx="0" cy="0"/>
          <a:chOff x="0" y="0"/>
          <a:chExt cx="0" cy="0"/>
        </a:xfrm>
      </p:grpSpPr>
      <p:pic>
        <p:nvPicPr>
          <p:cNvPr id="16" name="15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3 Marcador de contenido"/>
          <p:cNvSpPr>
            <a:spLocks noGrp="1"/>
          </p:cNvSpPr>
          <p:nvPr>
            <p:ph sz="quarter" idx="18" hasCustomPrompt="1"/>
          </p:nvPr>
        </p:nvSpPr>
        <p:spPr>
          <a:xfrm>
            <a:off x="4680012" y="1703540"/>
            <a:ext cx="3740400" cy="3607496"/>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2" name="11 Marcador de texto"/>
          <p:cNvSpPr>
            <a:spLocks noGrp="1"/>
          </p:cNvSpPr>
          <p:nvPr>
            <p:ph type="body" sz="quarter" idx="19"/>
          </p:nvPr>
        </p:nvSpPr>
        <p:spPr>
          <a:xfrm>
            <a:off x="466724" y="5398718"/>
            <a:ext cx="3978000" cy="540120"/>
          </a:xfrm>
          <a:prstGeom prst="rect">
            <a:avLst/>
          </a:prstGeom>
          <a:ln>
            <a:noFill/>
          </a:ln>
        </p:spPr>
        <p:txBody>
          <a:bodyPr lIns="0" tIns="0" rIns="0" bIns="0" anchor="ctr"/>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0" name="11 Marcador de texto"/>
          <p:cNvSpPr>
            <a:spLocks noGrp="1"/>
          </p:cNvSpPr>
          <p:nvPr>
            <p:ph type="body" sz="quarter" idx="20"/>
          </p:nvPr>
        </p:nvSpPr>
        <p:spPr>
          <a:xfrm>
            <a:off x="4680012" y="5398718"/>
            <a:ext cx="3740088" cy="540120"/>
          </a:xfrm>
          <a:prstGeom prst="rect">
            <a:avLst/>
          </a:prstGeom>
          <a:ln>
            <a:noFill/>
          </a:ln>
        </p:spPr>
        <p:txBody>
          <a:bodyPr lIns="0" tIns="0" rIns="0" bIns="0" anchor="ctr"/>
          <a:lstStyle>
            <a:lvl1pPr marL="0" marR="0" indent="0" algn="just" defTabSz="914400" rtl="0" eaLnBrk="1" fontAlgn="auto" latinLnBrk="0" hangingPunct="1">
              <a:lnSpc>
                <a:spcPct val="100000"/>
              </a:lnSpc>
              <a:spcBef>
                <a:spcPct val="20000"/>
              </a:spcBef>
              <a:spcAft>
                <a:spcPts val="0"/>
              </a:spcAft>
              <a:buClrTx/>
              <a:buSzTx/>
              <a:buFontTx/>
              <a:buNone/>
              <a:tabLst/>
              <a:defRPr lang="es-CO" sz="1600" kern="1200" baseline="0" dirty="0" smtClean="0">
                <a:solidFill>
                  <a:schemeClr val="tx1">
                    <a:lumMod val="50000"/>
                    <a:lumOff val="50000"/>
                  </a:schemeClr>
                </a:solidFill>
                <a:latin typeface="+mn-lt"/>
                <a:ea typeface="+mn-ea"/>
                <a:cs typeface="+mn-cs"/>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1" name="3 Marcador de contenido"/>
          <p:cNvSpPr>
            <a:spLocks noGrp="1"/>
          </p:cNvSpPr>
          <p:nvPr>
            <p:ph sz="quarter" idx="21" hasCustomPrompt="1"/>
          </p:nvPr>
        </p:nvSpPr>
        <p:spPr>
          <a:xfrm>
            <a:off x="466724" y="1703540"/>
            <a:ext cx="3978000" cy="3607496"/>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5" name="2 Marcador de texto"/>
          <p:cNvSpPr>
            <a:spLocks noGrp="1"/>
          </p:cNvSpPr>
          <p:nvPr>
            <p:ph type="body" idx="15" hasCustomPrompt="1"/>
          </p:nvPr>
        </p:nvSpPr>
        <p:spPr>
          <a:xfrm>
            <a:off x="457200" y="1155568"/>
            <a:ext cx="7930800" cy="432048"/>
          </a:xfrm>
          <a:prstGeom prst="rect">
            <a:avLst/>
          </a:prstGeom>
        </p:spPr>
        <p:txBody>
          <a:bodyPr lIns="0" tIns="0" rIns="0" bIns="0" anchor="ctr"/>
          <a:lstStyle>
            <a:lvl1pPr marL="0" indent="0">
              <a:buNone/>
              <a:defRPr sz="20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Subtitulo principal presentación</a:t>
            </a:r>
          </a:p>
        </p:txBody>
      </p:sp>
      <p:sp>
        <p:nvSpPr>
          <p:cNvPr id="2" name="1 Marcador de número de diapositiva"/>
          <p:cNvSpPr>
            <a:spLocks noGrp="1"/>
          </p:cNvSpPr>
          <p:nvPr>
            <p:ph type="sldNum" sz="quarter" idx="22"/>
          </p:nvPr>
        </p:nvSpPr>
        <p:spPr/>
        <p:txBody>
          <a:bodyPr/>
          <a:lstStyle/>
          <a:p>
            <a:fld id="{E342E011-D739-4258-81A8-D148B475F0B5}" type="slidenum">
              <a:rPr lang="es-CO" smtClean="0"/>
              <a:pPr/>
              <a:t>‹Nº›</a:t>
            </a:fld>
            <a:endParaRPr lang="es-CO" dirty="0"/>
          </a:p>
        </p:txBody>
      </p:sp>
    </p:spTree>
    <p:extLst>
      <p:ext uri="{BB962C8B-B14F-4D97-AF65-F5344CB8AC3E}">
        <p14:creationId xmlns:p14="http://schemas.microsoft.com/office/powerpoint/2010/main" val="12927553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ítulo - Subtítulo - 2 Textos - 2 Imagenes ">
    <p:spTree>
      <p:nvGrpSpPr>
        <p:cNvPr id="1" name=""/>
        <p:cNvGrpSpPr/>
        <p:nvPr/>
      </p:nvGrpSpPr>
      <p:grpSpPr>
        <a:xfrm>
          <a:off x="0" y="0"/>
          <a:ext cx="0" cy="0"/>
          <a:chOff x="0" y="0"/>
          <a:chExt cx="0" cy="0"/>
        </a:xfrm>
      </p:grpSpPr>
      <p:pic>
        <p:nvPicPr>
          <p:cNvPr id="17" name="16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12" name="11 Marcador de texto"/>
          <p:cNvSpPr>
            <a:spLocks noGrp="1"/>
          </p:cNvSpPr>
          <p:nvPr>
            <p:ph type="body" sz="quarter" idx="19"/>
          </p:nvPr>
        </p:nvSpPr>
        <p:spPr>
          <a:xfrm>
            <a:off x="466724" y="1716066"/>
            <a:ext cx="3978000" cy="1880410"/>
          </a:xfrm>
          <a:prstGeom prst="rect">
            <a:avLst/>
          </a:prstGeom>
          <a:ln>
            <a:noFill/>
          </a:ln>
        </p:spPr>
        <p:txBody>
          <a:bodyPr lIns="0" tIns="0" rIns="0" bIns="0" anchor="t"/>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0" name="11 Marcador de texto"/>
          <p:cNvSpPr>
            <a:spLocks noGrp="1"/>
          </p:cNvSpPr>
          <p:nvPr>
            <p:ph type="body" sz="quarter" idx="20"/>
          </p:nvPr>
        </p:nvSpPr>
        <p:spPr>
          <a:xfrm>
            <a:off x="4680012" y="1716066"/>
            <a:ext cx="3740088" cy="1880410"/>
          </a:xfrm>
          <a:prstGeom prst="rect">
            <a:avLst/>
          </a:prstGeom>
          <a:ln>
            <a:noFill/>
          </a:ln>
        </p:spPr>
        <p:txBody>
          <a:bodyPr lIns="0" tIns="0" rIns="0" bIns="0" anchor="t"/>
          <a:lstStyle>
            <a:lvl1pPr marL="0" marR="0" indent="0" algn="just" defTabSz="914400" rtl="0" eaLnBrk="1" fontAlgn="auto" latinLnBrk="0" hangingPunct="1">
              <a:lnSpc>
                <a:spcPct val="100000"/>
              </a:lnSpc>
              <a:spcBef>
                <a:spcPct val="20000"/>
              </a:spcBef>
              <a:spcAft>
                <a:spcPts val="0"/>
              </a:spcAft>
              <a:buClrTx/>
              <a:buSzTx/>
              <a:buFontTx/>
              <a:buNone/>
              <a:tabLst/>
              <a:defRPr lang="es-CO" sz="1600" kern="1200" baseline="0" dirty="0" smtClean="0">
                <a:solidFill>
                  <a:schemeClr val="tx1">
                    <a:lumMod val="50000"/>
                    <a:lumOff val="50000"/>
                  </a:schemeClr>
                </a:solidFill>
                <a:latin typeface="+mn-lt"/>
                <a:ea typeface="+mn-ea"/>
                <a:cs typeface="+mn-cs"/>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5" name="3 Marcador de contenido"/>
          <p:cNvSpPr>
            <a:spLocks noGrp="1"/>
          </p:cNvSpPr>
          <p:nvPr>
            <p:ph sz="quarter" idx="22" hasCustomPrompt="1"/>
          </p:nvPr>
        </p:nvSpPr>
        <p:spPr>
          <a:xfrm>
            <a:off x="4680012" y="3786678"/>
            <a:ext cx="3740400" cy="2154725"/>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6" name="3 Marcador de contenido"/>
          <p:cNvSpPr>
            <a:spLocks noGrp="1"/>
          </p:cNvSpPr>
          <p:nvPr>
            <p:ph sz="quarter" idx="23" hasCustomPrompt="1"/>
          </p:nvPr>
        </p:nvSpPr>
        <p:spPr>
          <a:xfrm>
            <a:off x="466724" y="3786678"/>
            <a:ext cx="3978000" cy="2154725"/>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1" name="2 Marcador de texto"/>
          <p:cNvSpPr>
            <a:spLocks noGrp="1"/>
          </p:cNvSpPr>
          <p:nvPr>
            <p:ph type="body" idx="15" hasCustomPrompt="1"/>
          </p:nvPr>
        </p:nvSpPr>
        <p:spPr>
          <a:xfrm>
            <a:off x="457200" y="1155568"/>
            <a:ext cx="7930800" cy="432048"/>
          </a:xfrm>
          <a:prstGeom prst="rect">
            <a:avLst/>
          </a:prstGeom>
        </p:spPr>
        <p:txBody>
          <a:bodyPr lIns="0" tIns="0" rIns="0" bIns="0" anchor="ctr"/>
          <a:lstStyle>
            <a:lvl1pPr marL="0" indent="0">
              <a:buNone/>
              <a:defRPr sz="20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Subtitulo principal presentación</a:t>
            </a:r>
          </a:p>
        </p:txBody>
      </p:sp>
      <p:sp>
        <p:nvSpPr>
          <p:cNvPr id="2" name="1 Marcador de número de diapositiva"/>
          <p:cNvSpPr>
            <a:spLocks noGrp="1"/>
          </p:cNvSpPr>
          <p:nvPr>
            <p:ph type="sldNum" sz="quarter" idx="24"/>
          </p:nvPr>
        </p:nvSpPr>
        <p:spPr/>
        <p:txBody>
          <a:bodyPr/>
          <a:lstStyle/>
          <a:p>
            <a:fld id="{E342E011-D739-4258-81A8-D148B475F0B5}" type="slidenum">
              <a:rPr lang="es-CO" smtClean="0"/>
              <a:pPr/>
              <a:t>‹Nº›</a:t>
            </a:fld>
            <a:endParaRPr lang="es-CO" dirty="0"/>
          </a:p>
        </p:txBody>
      </p:sp>
    </p:spTree>
    <p:extLst>
      <p:ext uri="{BB962C8B-B14F-4D97-AF65-F5344CB8AC3E}">
        <p14:creationId xmlns:p14="http://schemas.microsoft.com/office/powerpoint/2010/main" val="12927553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ítulo - Subtítulo - 2 Textos Cortos - 2 Imagenes ">
    <p:spTree>
      <p:nvGrpSpPr>
        <p:cNvPr id="1" name=""/>
        <p:cNvGrpSpPr/>
        <p:nvPr/>
      </p:nvGrpSpPr>
      <p:grpSpPr>
        <a:xfrm>
          <a:off x="0" y="0"/>
          <a:ext cx="0" cy="0"/>
          <a:chOff x="0" y="0"/>
          <a:chExt cx="0" cy="0"/>
        </a:xfrm>
      </p:grpSpPr>
      <p:pic>
        <p:nvPicPr>
          <p:cNvPr id="12" name="11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3 Marcador de contenido"/>
          <p:cNvSpPr>
            <a:spLocks noGrp="1"/>
          </p:cNvSpPr>
          <p:nvPr>
            <p:ph sz="quarter" idx="18" hasCustomPrompt="1"/>
          </p:nvPr>
        </p:nvSpPr>
        <p:spPr>
          <a:xfrm>
            <a:off x="4680012" y="2329841"/>
            <a:ext cx="3740400" cy="3620020"/>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1" name="3 Marcador de contenido"/>
          <p:cNvSpPr>
            <a:spLocks noGrp="1"/>
          </p:cNvSpPr>
          <p:nvPr>
            <p:ph sz="quarter" idx="21" hasCustomPrompt="1"/>
          </p:nvPr>
        </p:nvSpPr>
        <p:spPr>
          <a:xfrm>
            <a:off x="466724" y="2329841"/>
            <a:ext cx="3978000" cy="3620020"/>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5" name="11 Marcador de texto"/>
          <p:cNvSpPr>
            <a:spLocks noGrp="1"/>
          </p:cNvSpPr>
          <p:nvPr>
            <p:ph type="body" sz="quarter" idx="22"/>
          </p:nvPr>
        </p:nvSpPr>
        <p:spPr>
          <a:xfrm>
            <a:off x="466724" y="1691013"/>
            <a:ext cx="3978000" cy="540120"/>
          </a:xfrm>
          <a:prstGeom prst="rect">
            <a:avLst/>
          </a:prstGeom>
          <a:ln>
            <a:noFill/>
          </a:ln>
        </p:spPr>
        <p:txBody>
          <a:bodyPr lIns="0" tIns="0" rIns="0" bIns="0" anchor="ctr"/>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6" name="11 Marcador de texto"/>
          <p:cNvSpPr>
            <a:spLocks noGrp="1"/>
          </p:cNvSpPr>
          <p:nvPr>
            <p:ph type="body" sz="quarter" idx="23"/>
          </p:nvPr>
        </p:nvSpPr>
        <p:spPr>
          <a:xfrm>
            <a:off x="4680012" y="1691013"/>
            <a:ext cx="3740088" cy="540120"/>
          </a:xfrm>
          <a:prstGeom prst="rect">
            <a:avLst/>
          </a:prstGeom>
          <a:ln>
            <a:noFill/>
          </a:ln>
        </p:spPr>
        <p:txBody>
          <a:bodyPr lIns="0" tIns="0" rIns="0" bIns="0" anchor="ctr"/>
          <a:lstStyle>
            <a:lvl1pPr marL="0" marR="0" indent="0" algn="just" defTabSz="914400" rtl="0" eaLnBrk="1" fontAlgn="auto" latinLnBrk="0" hangingPunct="1">
              <a:lnSpc>
                <a:spcPct val="100000"/>
              </a:lnSpc>
              <a:spcBef>
                <a:spcPct val="20000"/>
              </a:spcBef>
              <a:spcAft>
                <a:spcPts val="0"/>
              </a:spcAft>
              <a:buClrTx/>
              <a:buSzTx/>
              <a:buFontTx/>
              <a:buNone/>
              <a:tabLst/>
              <a:defRPr lang="es-CO" sz="1600" kern="1200" baseline="0" dirty="0" smtClean="0">
                <a:solidFill>
                  <a:schemeClr val="tx1">
                    <a:lumMod val="50000"/>
                    <a:lumOff val="50000"/>
                  </a:schemeClr>
                </a:solidFill>
                <a:latin typeface="+mn-lt"/>
                <a:ea typeface="+mn-ea"/>
                <a:cs typeface="+mn-cs"/>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0" name="2 Marcador de texto"/>
          <p:cNvSpPr>
            <a:spLocks noGrp="1"/>
          </p:cNvSpPr>
          <p:nvPr>
            <p:ph type="body" idx="15" hasCustomPrompt="1"/>
          </p:nvPr>
        </p:nvSpPr>
        <p:spPr>
          <a:xfrm>
            <a:off x="457200" y="1155568"/>
            <a:ext cx="7930800" cy="432048"/>
          </a:xfrm>
          <a:prstGeom prst="rect">
            <a:avLst/>
          </a:prstGeom>
        </p:spPr>
        <p:txBody>
          <a:bodyPr lIns="0" tIns="0" rIns="0" bIns="0" anchor="ctr"/>
          <a:lstStyle>
            <a:lvl1pPr marL="0" indent="0">
              <a:buNone/>
              <a:defRPr sz="20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Subtitulo principal presentación</a:t>
            </a:r>
          </a:p>
        </p:txBody>
      </p:sp>
      <p:sp>
        <p:nvSpPr>
          <p:cNvPr id="2" name="1 Marcador de número de diapositiva"/>
          <p:cNvSpPr>
            <a:spLocks noGrp="1"/>
          </p:cNvSpPr>
          <p:nvPr>
            <p:ph type="sldNum" sz="quarter" idx="24"/>
          </p:nvPr>
        </p:nvSpPr>
        <p:spPr/>
        <p:txBody>
          <a:bodyPr/>
          <a:lstStyle/>
          <a:p>
            <a:fld id="{E342E011-D739-4258-81A8-D148B475F0B5}" type="slidenum">
              <a:rPr lang="es-CO" smtClean="0"/>
              <a:pPr/>
              <a:t>‹Nº›</a:t>
            </a:fld>
            <a:endParaRPr lang="es-CO" dirty="0"/>
          </a:p>
        </p:txBody>
      </p:sp>
    </p:spTree>
    <p:extLst>
      <p:ext uri="{BB962C8B-B14F-4D97-AF65-F5344CB8AC3E}">
        <p14:creationId xmlns:p14="http://schemas.microsoft.com/office/powerpoint/2010/main" val="1292755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 Contenido">
    <p:spTree>
      <p:nvGrpSpPr>
        <p:cNvPr id="1" name=""/>
        <p:cNvGrpSpPr/>
        <p:nvPr/>
      </p:nvGrpSpPr>
      <p:grpSpPr>
        <a:xfrm>
          <a:off x="0" y="0"/>
          <a:ext cx="0" cy="0"/>
          <a:chOff x="0" y="0"/>
          <a:chExt cx="0" cy="0"/>
        </a:xfrm>
      </p:grpSpPr>
      <p:pic>
        <p:nvPicPr>
          <p:cNvPr id="9" name="8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2" name="1 Título"/>
          <p:cNvSpPr>
            <a:spLocks noGrp="1"/>
          </p:cNvSpPr>
          <p:nvPr>
            <p:ph type="title" hasCustomPrompt="1"/>
          </p:nvPr>
        </p:nvSpPr>
        <p:spPr>
          <a:xfrm>
            <a:off x="457200" y="332656"/>
            <a:ext cx="7571184" cy="792088"/>
          </a:xfrm>
          <a:prstGeom prst="rect">
            <a:avLst/>
          </a:prstGeom>
        </p:spPr>
        <p:txBody>
          <a:bodyPr lIns="0" tIns="0" rIns="0" bIns="0" anchor="ctr">
            <a:noAutofit/>
          </a:bodyPr>
          <a:lstStyle>
            <a:lvl1pPr algn="l">
              <a:defRPr sz="2800" b="1" baseline="0">
                <a:solidFill>
                  <a:srgbClr val="007934"/>
                </a:solidFill>
                <a:latin typeface="Trebuchet MS" pitchFamily="34" charset="0"/>
              </a:defRPr>
            </a:lvl1pPr>
          </a:lstStyle>
          <a:p>
            <a:r>
              <a:rPr lang="es-ES" dirty="0"/>
              <a:t>Título agenda</a:t>
            </a:r>
            <a:endParaRPr lang="es-CO" dirty="0"/>
          </a:p>
        </p:txBody>
      </p:sp>
      <p:sp>
        <p:nvSpPr>
          <p:cNvPr id="5" name="1 Título"/>
          <p:cNvSpPr txBox="1">
            <a:spLocks/>
          </p:cNvSpPr>
          <p:nvPr userDrawn="1"/>
        </p:nvSpPr>
        <p:spPr>
          <a:xfrm>
            <a:off x="457200" y="1340768"/>
            <a:ext cx="7571184" cy="504056"/>
          </a:xfrm>
          <a:prstGeom prst="rect">
            <a:avLst/>
          </a:prstGeom>
        </p:spPr>
        <p:txBody>
          <a:bodyPr>
            <a:normAutofit/>
          </a:bodyPr>
          <a:lstStyle>
            <a:lvl1pPr algn="l">
              <a:defRPr sz="2800" b="1">
                <a:solidFill>
                  <a:srgbClr val="007934"/>
                </a:solidFill>
                <a:latin typeface="Trebuchet MS"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CO" sz="2400" b="1" i="0" u="none" strike="noStrike" kern="1200" cap="none" spc="0" normalizeH="0" baseline="0" noProof="0" dirty="0">
              <a:ln>
                <a:noFill/>
              </a:ln>
              <a:solidFill>
                <a:srgbClr val="5DBF0C"/>
              </a:solidFill>
              <a:effectLst/>
              <a:uLnTx/>
              <a:uFillTx/>
              <a:latin typeface="Trebuchet MS" pitchFamily="34" charset="0"/>
              <a:ea typeface="+mj-ea"/>
              <a:cs typeface="+mj-cs"/>
            </a:endParaRPr>
          </a:p>
        </p:txBody>
      </p:sp>
      <p:sp>
        <p:nvSpPr>
          <p:cNvPr id="7" name="2 Marcador de texto"/>
          <p:cNvSpPr>
            <a:spLocks noGrp="1"/>
          </p:cNvSpPr>
          <p:nvPr>
            <p:ph type="body" idx="15" hasCustomPrompt="1"/>
          </p:nvPr>
        </p:nvSpPr>
        <p:spPr>
          <a:xfrm>
            <a:off x="457200" y="1340768"/>
            <a:ext cx="7930800" cy="432048"/>
          </a:xfrm>
          <a:prstGeom prst="rect">
            <a:avLst/>
          </a:prstGeom>
        </p:spPr>
        <p:txBody>
          <a:bodyPr lIns="0" tIns="0" rIns="0" bIns="0" anchor="ctr"/>
          <a:lstStyle>
            <a:lvl1pPr marL="0" indent="0">
              <a:buNone/>
              <a:defRPr sz="24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principal presentación</a:t>
            </a:r>
          </a:p>
        </p:txBody>
      </p:sp>
      <p:sp>
        <p:nvSpPr>
          <p:cNvPr id="12" name="11 Marcador de texto"/>
          <p:cNvSpPr>
            <a:spLocks noGrp="1"/>
          </p:cNvSpPr>
          <p:nvPr>
            <p:ph type="body" sz="quarter" idx="17" hasCustomPrompt="1"/>
          </p:nvPr>
        </p:nvSpPr>
        <p:spPr>
          <a:xfrm>
            <a:off x="466725" y="1989138"/>
            <a:ext cx="7930800" cy="3960000"/>
          </a:xfrm>
          <a:prstGeom prst="rect">
            <a:avLst/>
          </a:prstGeom>
        </p:spPr>
        <p:txBody>
          <a:bodyPr lIns="0" tIns="0" rIns="0" bIns="0" anchor="t"/>
          <a:lstStyle>
            <a:lvl1pPr marL="342900" indent="-342900" algn="l" defTabSz="914400" rtl="0" eaLnBrk="1" latinLnBrk="0" hangingPunct="1">
              <a:spcBef>
                <a:spcPct val="20000"/>
              </a:spcBef>
              <a:buFont typeface="Courier New" pitchFamily="49" charset="0"/>
              <a:buChar char="o"/>
              <a:defRPr lang="es-ES" sz="2000" b="1" kern="1200" baseline="0" dirty="0" smtClean="0">
                <a:solidFill>
                  <a:schemeClr val="tx1">
                    <a:lumMod val="65000"/>
                    <a:lumOff val="35000"/>
                  </a:schemeClr>
                </a:solidFill>
                <a:latin typeface="Trebuchet MS" pitchFamily="34" charset="0"/>
                <a:ea typeface="+mn-ea"/>
                <a:cs typeface="+mn-cs"/>
              </a:defRPr>
            </a:lvl1pPr>
            <a:lvl2pPr marL="742950" indent="-285750" algn="l" defTabSz="914400" rtl="0" eaLnBrk="1" latinLnBrk="0" hangingPunct="1">
              <a:spcBef>
                <a:spcPct val="20000"/>
              </a:spcBef>
              <a:buFont typeface="Arial" pitchFamily="34" charset="0"/>
              <a:buChar char="•"/>
              <a:defRPr lang="es-ES" sz="1600" kern="1200" baseline="0" dirty="0" smtClean="0">
                <a:solidFill>
                  <a:schemeClr val="tx1">
                    <a:lumMod val="50000"/>
                    <a:lumOff val="50000"/>
                  </a:schemeClr>
                </a:solidFill>
                <a:latin typeface="Trebuchet MS" pitchFamily="34" charset="0"/>
                <a:ea typeface="+mn-ea"/>
                <a:cs typeface="+mn-cs"/>
              </a:defRPr>
            </a:lvl2pPr>
            <a:lvl3pPr marL="742950" indent="-285750">
              <a:defRPr/>
            </a:lvl3pPr>
          </a:lstStyle>
          <a:p>
            <a:pPr marL="342900" lvl="0" indent="-342900" algn="l" defTabSz="914400" rtl="0" eaLnBrk="1" latinLnBrk="0" hangingPunct="1">
              <a:spcBef>
                <a:spcPct val="20000"/>
              </a:spcBef>
              <a:buFont typeface="Courier New" pitchFamily="49" charset="0"/>
              <a:buChar char="o"/>
            </a:pPr>
            <a:r>
              <a:rPr lang="es-ES" dirty="0"/>
              <a:t>Título subtema 1</a:t>
            </a:r>
          </a:p>
          <a:p>
            <a:pPr marL="742950" lvl="1" indent="-285750" algn="l" defTabSz="914400" rtl="0" eaLnBrk="1" latinLnBrk="0" hangingPunct="1">
              <a:spcBef>
                <a:spcPct val="20000"/>
              </a:spcBef>
              <a:buFont typeface="Arial" pitchFamily="34" charset="0"/>
              <a:buChar char="•"/>
            </a:pPr>
            <a:r>
              <a:rPr lang="es-ES" dirty="0"/>
              <a:t>Subtema 1.1</a:t>
            </a:r>
          </a:p>
          <a:p>
            <a:pPr marL="742950" lvl="1" indent="-285750" algn="l" defTabSz="914400" rtl="0" eaLnBrk="1" latinLnBrk="0" hangingPunct="1">
              <a:spcBef>
                <a:spcPct val="20000"/>
              </a:spcBef>
              <a:buFont typeface="Arial" pitchFamily="34" charset="0"/>
              <a:buChar char="•"/>
            </a:pPr>
            <a:r>
              <a:rPr lang="es-ES" dirty="0"/>
              <a:t>Subtema 1.2</a:t>
            </a:r>
          </a:p>
          <a:p>
            <a:pPr marL="342900" lvl="0" indent="-342900" algn="l" defTabSz="914400" rtl="0" eaLnBrk="1" latinLnBrk="0" hangingPunct="1">
              <a:spcBef>
                <a:spcPct val="20000"/>
              </a:spcBef>
              <a:buFont typeface="Courier New" pitchFamily="49" charset="0"/>
              <a:buChar char="o"/>
            </a:pPr>
            <a:r>
              <a:rPr lang="es-ES" dirty="0"/>
              <a:t>Título subtema 2</a:t>
            </a:r>
          </a:p>
          <a:p>
            <a:pPr marL="742950" lvl="1" indent="-285750" algn="l" defTabSz="914400" rtl="0" eaLnBrk="1" latinLnBrk="0" hangingPunct="1">
              <a:spcBef>
                <a:spcPct val="20000"/>
              </a:spcBef>
              <a:buFont typeface="Arial" pitchFamily="34" charset="0"/>
              <a:buChar char="•"/>
            </a:pPr>
            <a:r>
              <a:rPr lang="es-ES" dirty="0"/>
              <a:t>Subtema 2.1</a:t>
            </a:r>
          </a:p>
          <a:p>
            <a:pPr marL="742950" lvl="1" indent="-285750" algn="l" defTabSz="914400" rtl="0" eaLnBrk="1" latinLnBrk="0" hangingPunct="1">
              <a:spcBef>
                <a:spcPct val="20000"/>
              </a:spcBef>
              <a:buFont typeface="Arial" pitchFamily="34" charset="0"/>
              <a:buChar char="•"/>
            </a:pPr>
            <a:r>
              <a:rPr lang="es-ES" dirty="0"/>
              <a:t>Subtema 2.2</a:t>
            </a:r>
          </a:p>
          <a:p>
            <a:pPr marL="342900" lvl="0" indent="-342900" algn="l" defTabSz="914400" rtl="0" eaLnBrk="1" latinLnBrk="0" hangingPunct="1">
              <a:spcBef>
                <a:spcPct val="20000"/>
              </a:spcBef>
              <a:buFont typeface="Courier New" pitchFamily="49" charset="0"/>
              <a:buChar char="o"/>
            </a:pPr>
            <a:r>
              <a:rPr lang="es-ES" dirty="0"/>
              <a:t>Título subtema 3</a:t>
            </a:r>
          </a:p>
          <a:p>
            <a:pPr marL="742950" lvl="1" indent="-285750" algn="l" defTabSz="914400" rtl="0" eaLnBrk="1" latinLnBrk="0" hangingPunct="1">
              <a:spcBef>
                <a:spcPct val="20000"/>
              </a:spcBef>
              <a:buFont typeface="Arial" pitchFamily="34" charset="0"/>
              <a:buChar char="•"/>
            </a:pPr>
            <a:r>
              <a:rPr lang="es-ES" dirty="0"/>
              <a:t>Subtema 3.1</a:t>
            </a:r>
          </a:p>
          <a:p>
            <a:pPr marL="742950" lvl="1" indent="-285750" algn="l" defTabSz="914400" rtl="0" eaLnBrk="1" latinLnBrk="0" hangingPunct="1">
              <a:spcBef>
                <a:spcPct val="20000"/>
              </a:spcBef>
              <a:buFont typeface="Arial" pitchFamily="34" charset="0"/>
              <a:buChar char="•"/>
            </a:pPr>
            <a:r>
              <a:rPr lang="es-ES" dirty="0"/>
              <a:t>Subtema 3.2</a:t>
            </a:r>
          </a:p>
        </p:txBody>
      </p:sp>
    </p:spTree>
    <p:extLst>
      <p:ext uri="{BB962C8B-B14F-4D97-AF65-F5344CB8AC3E}">
        <p14:creationId xmlns:p14="http://schemas.microsoft.com/office/powerpoint/2010/main" val="11309335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acto">
    <p:spTree>
      <p:nvGrpSpPr>
        <p:cNvPr id="1" name=""/>
        <p:cNvGrpSpPr/>
        <p:nvPr/>
      </p:nvGrpSpPr>
      <p:grpSpPr>
        <a:xfrm>
          <a:off x="0" y="0"/>
          <a:ext cx="0" cy="0"/>
          <a:chOff x="0" y="0"/>
          <a:chExt cx="0" cy="0"/>
        </a:xfrm>
      </p:grpSpPr>
      <p:pic>
        <p:nvPicPr>
          <p:cNvPr id="7" name="6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1 Título"/>
          <p:cNvSpPr>
            <a:spLocks noGrp="1"/>
          </p:cNvSpPr>
          <p:nvPr>
            <p:ph type="title" hasCustomPrompt="1"/>
          </p:nvPr>
        </p:nvSpPr>
        <p:spPr>
          <a:xfrm>
            <a:off x="467544" y="332656"/>
            <a:ext cx="7571184" cy="792088"/>
          </a:xfrm>
          <a:prstGeom prst="rect">
            <a:avLst/>
          </a:prstGeom>
        </p:spPr>
        <p:txBody>
          <a:bodyPr lIns="0" tIns="0" rIns="0" bIns="0" anchor="ctr">
            <a:noAutofit/>
          </a:bodyPr>
          <a:lstStyle>
            <a:lvl1pPr algn="l">
              <a:defRPr sz="2800" b="1" baseline="0">
                <a:solidFill>
                  <a:srgbClr val="007934"/>
                </a:solidFill>
                <a:latin typeface="Trebuchet MS" pitchFamily="34" charset="0"/>
              </a:defRPr>
            </a:lvl1pPr>
          </a:lstStyle>
          <a:p>
            <a:r>
              <a:rPr lang="es-ES" dirty="0"/>
              <a:t>Contacto</a:t>
            </a:r>
            <a:endParaRPr lang="es-CO" dirty="0"/>
          </a:p>
        </p:txBody>
      </p:sp>
      <p:sp>
        <p:nvSpPr>
          <p:cNvPr id="5" name="2 Marcador de contenido"/>
          <p:cNvSpPr>
            <a:spLocks noGrp="1"/>
          </p:cNvSpPr>
          <p:nvPr>
            <p:ph idx="1" hasCustomPrompt="1"/>
          </p:nvPr>
        </p:nvSpPr>
        <p:spPr>
          <a:xfrm>
            <a:off x="457200" y="1463040"/>
            <a:ext cx="7931224" cy="4126201"/>
          </a:xfrm>
          <a:prstGeom prst="rect">
            <a:avLst/>
          </a:prstGeom>
        </p:spPr>
        <p:txBody>
          <a:bodyPr anchor="t">
            <a:normAutofit/>
          </a:bodyPr>
          <a:lstStyle>
            <a:lvl1pPr>
              <a:buFont typeface="Courier New" pitchFamily="49" charset="0"/>
              <a:buChar char="o"/>
              <a:defRPr sz="2000" b="1" baseline="0">
                <a:solidFill>
                  <a:schemeClr val="tx1">
                    <a:lumMod val="65000"/>
                    <a:lumOff val="35000"/>
                  </a:schemeClr>
                </a:solidFill>
                <a:latin typeface="Trebuchet MS" pitchFamily="34" charset="0"/>
              </a:defRPr>
            </a:lvl1pPr>
            <a:lvl2pPr>
              <a:buFont typeface="Arial" pitchFamily="34" charset="0"/>
              <a:buChar char="•"/>
              <a:defRPr sz="1600" baseline="0">
                <a:solidFill>
                  <a:schemeClr val="tx1">
                    <a:lumMod val="50000"/>
                    <a:lumOff val="50000"/>
                  </a:schemeClr>
                </a:solidFill>
                <a:latin typeface="Trebuchet MS" pitchFamily="34" charset="0"/>
              </a:defRPr>
            </a:lvl2pPr>
          </a:lstStyle>
          <a:p>
            <a:pPr lvl="0"/>
            <a:r>
              <a:rPr lang="es-ES" dirty="0"/>
              <a:t>Nombre expositor</a:t>
            </a:r>
          </a:p>
          <a:p>
            <a:pPr marL="719138" lvl="1" indent="0">
              <a:lnSpc>
                <a:spcPct val="150000"/>
              </a:lnSpc>
              <a:buNone/>
            </a:pPr>
            <a:r>
              <a:rPr lang="es-CO" dirty="0"/>
              <a:t>correoexpositor@epm.com.co</a:t>
            </a:r>
            <a:br>
              <a:rPr lang="es-CO" dirty="0"/>
            </a:br>
            <a:r>
              <a:rPr lang="es-CO" dirty="0"/>
              <a:t>Teléfono: +57-4 380 8080 </a:t>
            </a:r>
            <a:br>
              <a:rPr lang="es-CO" dirty="0"/>
            </a:br>
            <a:r>
              <a:rPr lang="es-CO" dirty="0"/>
              <a:t>Móvil: 300 123 4567</a:t>
            </a:r>
          </a:p>
          <a:p>
            <a:pPr marL="719138" lvl="1" indent="0">
              <a:lnSpc>
                <a:spcPct val="150000"/>
              </a:lnSpc>
              <a:buNone/>
            </a:pPr>
            <a:r>
              <a:rPr lang="es-CO" dirty="0"/>
              <a:t>Fax: +57-4 265 9350</a:t>
            </a:r>
            <a:endParaRPr lang="es-ES" dirty="0"/>
          </a:p>
        </p:txBody>
      </p:sp>
      <p:sp>
        <p:nvSpPr>
          <p:cNvPr id="6" name="1 Título"/>
          <p:cNvSpPr txBox="1">
            <a:spLocks/>
          </p:cNvSpPr>
          <p:nvPr userDrawn="1"/>
        </p:nvSpPr>
        <p:spPr>
          <a:xfrm>
            <a:off x="467544" y="1340768"/>
            <a:ext cx="7571184" cy="504056"/>
          </a:xfrm>
          <a:prstGeom prst="rect">
            <a:avLst/>
          </a:prstGeom>
        </p:spPr>
        <p:txBody>
          <a:bodyPr>
            <a:normAutofit/>
          </a:bodyPr>
          <a:lstStyle>
            <a:lvl1pPr algn="l">
              <a:defRPr sz="2800" b="1">
                <a:solidFill>
                  <a:srgbClr val="007934"/>
                </a:solidFill>
                <a:latin typeface="Trebuchet MS"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CO" sz="2400" b="1" i="0" u="none" strike="noStrike" kern="1200" cap="none" spc="0" normalizeH="0" baseline="0" noProof="0" dirty="0">
              <a:ln>
                <a:noFill/>
              </a:ln>
              <a:solidFill>
                <a:srgbClr val="5DBF0C"/>
              </a:solidFill>
              <a:effectLst/>
              <a:uLnTx/>
              <a:uFillTx/>
              <a:latin typeface="Trebuchet MS" pitchFamily="34" charset="0"/>
              <a:ea typeface="+mj-ea"/>
              <a:cs typeface="+mj-cs"/>
            </a:endParaRPr>
          </a:p>
        </p:txBody>
      </p:sp>
      <p:sp>
        <p:nvSpPr>
          <p:cNvPr id="2" name="1 Marcador de número de diapositiva"/>
          <p:cNvSpPr>
            <a:spLocks noGrp="1"/>
          </p:cNvSpPr>
          <p:nvPr>
            <p:ph type="sldNum" sz="quarter" idx="10"/>
          </p:nvPr>
        </p:nvSpPr>
        <p:spPr/>
        <p:txBody>
          <a:bodyPr/>
          <a:lstStyle/>
          <a:p>
            <a:fld id="{E342E011-D739-4258-81A8-D148B475F0B5}" type="slidenum">
              <a:rPr lang="es-CO" smtClean="0"/>
              <a:pPr/>
              <a:t>‹Nº›</a:t>
            </a:fld>
            <a:endParaRPr lang="es-CO"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bliografía / Cibergrafía / Créditos">
    <p:spTree>
      <p:nvGrpSpPr>
        <p:cNvPr id="1" name=""/>
        <p:cNvGrpSpPr/>
        <p:nvPr/>
      </p:nvGrpSpPr>
      <p:grpSpPr>
        <a:xfrm>
          <a:off x="0" y="0"/>
          <a:ext cx="0" cy="0"/>
          <a:chOff x="0" y="0"/>
          <a:chExt cx="0" cy="0"/>
        </a:xfrm>
      </p:grpSpPr>
      <p:pic>
        <p:nvPicPr>
          <p:cNvPr id="6" name="5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1 Título"/>
          <p:cNvSpPr>
            <a:spLocks noGrp="1"/>
          </p:cNvSpPr>
          <p:nvPr>
            <p:ph type="title" hasCustomPrompt="1"/>
          </p:nvPr>
        </p:nvSpPr>
        <p:spPr>
          <a:xfrm>
            <a:off x="467544" y="332656"/>
            <a:ext cx="7571184" cy="792088"/>
          </a:xfrm>
          <a:prstGeom prst="rect">
            <a:avLst/>
          </a:prstGeom>
        </p:spPr>
        <p:txBody>
          <a:bodyPr lIns="0" tIns="0" rIns="0" bIns="0" anchor="ctr">
            <a:noAutofit/>
          </a:bodyPr>
          <a:lstStyle>
            <a:lvl1pPr algn="l">
              <a:defRPr sz="2800" b="1" baseline="0">
                <a:solidFill>
                  <a:srgbClr val="007934"/>
                </a:solidFill>
                <a:latin typeface="Trebuchet MS" pitchFamily="34" charset="0"/>
              </a:defRPr>
            </a:lvl1pPr>
          </a:lstStyle>
          <a:p>
            <a:r>
              <a:rPr lang="es-ES" dirty="0"/>
              <a:t>Bibliografía / </a:t>
            </a:r>
            <a:r>
              <a:rPr lang="es-ES" dirty="0" err="1"/>
              <a:t>cibergrafía</a:t>
            </a:r>
            <a:r>
              <a:rPr lang="es-ES" dirty="0"/>
              <a:t> / créditos</a:t>
            </a:r>
            <a:endParaRPr lang="es-CO" dirty="0"/>
          </a:p>
        </p:txBody>
      </p:sp>
      <p:sp>
        <p:nvSpPr>
          <p:cNvPr id="5" name="2 Marcador de contenido"/>
          <p:cNvSpPr>
            <a:spLocks noGrp="1"/>
          </p:cNvSpPr>
          <p:nvPr>
            <p:ph idx="1" hasCustomPrompt="1"/>
          </p:nvPr>
        </p:nvSpPr>
        <p:spPr>
          <a:xfrm>
            <a:off x="457200" y="1463040"/>
            <a:ext cx="7931224" cy="4126201"/>
          </a:xfrm>
          <a:prstGeom prst="rect">
            <a:avLst/>
          </a:prstGeom>
        </p:spPr>
        <p:txBody>
          <a:bodyPr lIns="0" tIns="0" rIns="0" bIns="0" anchor="t">
            <a:noAutofit/>
          </a:bodyPr>
          <a:lstStyle>
            <a:lvl1pPr>
              <a:buFont typeface="Courier New" pitchFamily="49" charset="0"/>
              <a:buChar char="o"/>
              <a:defRPr sz="2000" b="1" baseline="0">
                <a:solidFill>
                  <a:schemeClr val="tx1">
                    <a:lumMod val="65000"/>
                    <a:lumOff val="35000"/>
                  </a:schemeClr>
                </a:solidFill>
                <a:latin typeface="Trebuchet MS" pitchFamily="34" charset="0"/>
              </a:defRPr>
            </a:lvl1pPr>
            <a:lvl2pPr>
              <a:buFont typeface="Arial" pitchFamily="34" charset="0"/>
              <a:buChar char="•"/>
              <a:defRPr sz="1600" baseline="0">
                <a:solidFill>
                  <a:schemeClr val="tx1">
                    <a:lumMod val="50000"/>
                    <a:lumOff val="50000"/>
                  </a:schemeClr>
                </a:solidFill>
                <a:latin typeface="Trebuchet MS" pitchFamily="34" charset="0"/>
              </a:defRPr>
            </a:lvl2pPr>
          </a:lstStyle>
          <a:p>
            <a:pPr lvl="0"/>
            <a:r>
              <a:rPr lang="es-ES" dirty="0"/>
              <a:t>Nombre libro</a:t>
            </a:r>
          </a:p>
          <a:p>
            <a:pPr lvl="1"/>
            <a:r>
              <a:rPr lang="es-ES" dirty="0"/>
              <a:t>Autor / Edición  / página / </a:t>
            </a:r>
          </a:p>
          <a:p>
            <a:pPr lvl="0"/>
            <a:r>
              <a:rPr lang="es-ES" dirty="0"/>
              <a:t>Nombre sitio web</a:t>
            </a:r>
          </a:p>
          <a:p>
            <a:pPr lvl="1"/>
            <a:r>
              <a:rPr lang="es-ES" dirty="0"/>
              <a:t>Enlace / fecha</a:t>
            </a:r>
          </a:p>
          <a:p>
            <a:pPr lvl="0"/>
            <a:r>
              <a:rPr lang="es-ES" dirty="0"/>
              <a:t>Colaboradores</a:t>
            </a:r>
          </a:p>
          <a:p>
            <a:pPr lvl="1"/>
            <a:r>
              <a:rPr lang="es-CO" dirty="0"/>
              <a:t>Nombre colaborador</a:t>
            </a:r>
          </a:p>
        </p:txBody>
      </p:sp>
      <p:sp>
        <p:nvSpPr>
          <p:cNvPr id="2" name="1 Marcador de número de diapositiva"/>
          <p:cNvSpPr>
            <a:spLocks noGrp="1"/>
          </p:cNvSpPr>
          <p:nvPr>
            <p:ph type="sldNum" sz="quarter" idx="10"/>
          </p:nvPr>
        </p:nvSpPr>
        <p:spPr/>
        <p:txBody>
          <a:bodyPr/>
          <a:lstStyle/>
          <a:p>
            <a:fld id="{E342E011-D739-4258-81A8-D148B475F0B5}" type="slidenum">
              <a:rPr lang="es-CO" smtClean="0"/>
              <a:pPr/>
              <a:t>‹Nº›</a:t>
            </a:fld>
            <a:endParaRPr lang="es-CO"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ítulo Tema (Separador)">
    <p:spTree>
      <p:nvGrpSpPr>
        <p:cNvPr id="1" name=""/>
        <p:cNvGrpSpPr/>
        <p:nvPr/>
      </p:nvGrpSpPr>
      <p:grpSpPr>
        <a:xfrm>
          <a:off x="0" y="0"/>
          <a:ext cx="0" cy="0"/>
          <a:chOff x="0" y="0"/>
          <a:chExt cx="0" cy="0"/>
        </a:xfrm>
      </p:grpSpPr>
      <p:sp>
        <p:nvSpPr>
          <p:cNvPr id="8" name="7 Marcador de texto"/>
          <p:cNvSpPr>
            <a:spLocks noGrp="1"/>
          </p:cNvSpPr>
          <p:nvPr>
            <p:ph type="body" sz="quarter" idx="11" hasCustomPrompt="1"/>
          </p:nvPr>
        </p:nvSpPr>
        <p:spPr>
          <a:xfrm>
            <a:off x="1837275" y="5954713"/>
            <a:ext cx="6840000" cy="446400"/>
          </a:xfrm>
          <a:prstGeom prst="rect">
            <a:avLst/>
          </a:prstGeom>
        </p:spPr>
        <p:txBody>
          <a:bodyPr anchor="ctr"/>
          <a:lstStyle>
            <a:lvl1pPr marL="0" indent="0" algn="r">
              <a:buNone/>
              <a:defRPr kumimoji="0" lang="es-ES" sz="3200" b="1" i="0" u="none" strike="noStrike" kern="1200" cap="none" spc="0" normalizeH="0" baseline="0" dirty="0" smtClean="0">
                <a:ln>
                  <a:noFill/>
                </a:ln>
                <a:solidFill>
                  <a:srgbClr val="007635"/>
                </a:solidFill>
                <a:effectLst/>
                <a:uLnTx/>
                <a:uFillTx/>
                <a:latin typeface="+mn-lt"/>
                <a:ea typeface="+mn-ea"/>
                <a:cs typeface="+mn-cs"/>
              </a:defRPr>
            </a:lvl1pPr>
            <a:lvl2pPr algn="r">
              <a:defRPr/>
            </a:lvl2pPr>
            <a:lvl3pPr algn="r">
              <a:defRPr/>
            </a:lvl3pPr>
            <a:lvl4pPr algn="r">
              <a:defRPr/>
            </a:lvl4pPr>
            <a:lvl5pPr algn="r">
              <a:defRPr/>
            </a:lvl5pPr>
          </a:lstStyle>
          <a:p>
            <a:pPr lvl="0"/>
            <a:r>
              <a:rPr lang="es-ES" dirty="0"/>
              <a:t>Título tema (separador)</a:t>
            </a:r>
          </a:p>
        </p:txBody>
      </p:sp>
    </p:spTree>
    <p:extLst>
      <p:ext uri="{BB962C8B-B14F-4D97-AF65-F5344CB8AC3E}">
        <p14:creationId xmlns:p14="http://schemas.microsoft.com/office/powerpoint/2010/main" val="30186635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acias">
    <p:spTree>
      <p:nvGrpSpPr>
        <p:cNvPr id="1" name=""/>
        <p:cNvGrpSpPr/>
        <p:nvPr/>
      </p:nvGrpSpPr>
      <p:grpSpPr>
        <a:xfrm>
          <a:off x="0" y="0"/>
          <a:ext cx="0" cy="0"/>
          <a:chOff x="0" y="0"/>
          <a:chExt cx="0" cy="0"/>
        </a:xfrm>
      </p:grpSpPr>
      <p:pic>
        <p:nvPicPr>
          <p:cNvPr id="4" name="3 Imagen" descr="08_Agradecimiento.jpg"/>
          <p:cNvPicPr>
            <a:picLocks noChangeAspect="1"/>
          </p:cNvPicPr>
          <p:nvPr userDrawn="1"/>
        </p:nvPicPr>
        <p:blipFill>
          <a:blip r:embed="rId2" cstate="print"/>
          <a:stretch>
            <a:fillRect/>
          </a:stretch>
        </p:blipFill>
        <p:spPr>
          <a:xfrm>
            <a:off x="0" y="0"/>
            <a:ext cx="9144000" cy="6858000"/>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Diapositiva Agenda">
    <p:spTree>
      <p:nvGrpSpPr>
        <p:cNvPr id="1" name=""/>
        <p:cNvGrpSpPr/>
        <p:nvPr/>
      </p:nvGrpSpPr>
      <p:grpSpPr>
        <a:xfrm>
          <a:off x="0" y="0"/>
          <a:ext cx="0" cy="0"/>
          <a:chOff x="0" y="0"/>
          <a:chExt cx="0" cy="0"/>
        </a:xfrm>
      </p:grpSpPr>
      <p:pic>
        <p:nvPicPr>
          <p:cNvPr id="8" name="7 Imagen" descr="04_Plantilla_contenidos.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1 Título"/>
          <p:cNvSpPr>
            <a:spLocks noGrp="1"/>
          </p:cNvSpPr>
          <p:nvPr>
            <p:ph type="title" hasCustomPrompt="1"/>
          </p:nvPr>
        </p:nvSpPr>
        <p:spPr>
          <a:xfrm>
            <a:off x="467544" y="332656"/>
            <a:ext cx="7571184" cy="792088"/>
          </a:xfrm>
          <a:prstGeom prst="rect">
            <a:avLst/>
          </a:prstGeom>
        </p:spPr>
        <p:txBody>
          <a:bodyPr>
            <a:normAutofit/>
          </a:bodyPr>
          <a:lstStyle>
            <a:lvl1pPr algn="l">
              <a:defRPr sz="2800" b="1">
                <a:solidFill>
                  <a:srgbClr val="007934"/>
                </a:solidFill>
                <a:latin typeface="Trebuchet MS" pitchFamily="34" charset="0"/>
              </a:defRPr>
            </a:lvl1pPr>
          </a:lstStyle>
          <a:p>
            <a:r>
              <a:rPr lang="es-ES" dirty="0"/>
              <a:t>Título agenda </a:t>
            </a:r>
            <a:endParaRPr lang="es-CO" dirty="0"/>
          </a:p>
        </p:txBody>
      </p:sp>
      <p:sp>
        <p:nvSpPr>
          <p:cNvPr id="3" name="2 Marcador de contenido"/>
          <p:cNvSpPr>
            <a:spLocks noGrp="1"/>
          </p:cNvSpPr>
          <p:nvPr>
            <p:ph idx="1" hasCustomPrompt="1"/>
          </p:nvPr>
        </p:nvSpPr>
        <p:spPr>
          <a:xfrm>
            <a:off x="457200" y="1988845"/>
            <a:ext cx="7931224" cy="3600401"/>
          </a:xfrm>
          <a:prstGeom prst="rect">
            <a:avLst/>
          </a:prstGeom>
        </p:spPr>
        <p:txBody>
          <a:bodyPr>
            <a:normAutofit/>
          </a:bodyPr>
          <a:lstStyle>
            <a:lvl1pPr>
              <a:buFont typeface="Courier New" pitchFamily="49" charset="0"/>
              <a:buChar char="o"/>
              <a:defRPr sz="2000" b="1" baseline="0">
                <a:solidFill>
                  <a:schemeClr val="tx1">
                    <a:lumMod val="65000"/>
                    <a:lumOff val="35000"/>
                  </a:schemeClr>
                </a:solidFill>
                <a:latin typeface="Trebuchet MS" pitchFamily="34" charset="0"/>
              </a:defRPr>
            </a:lvl1pPr>
            <a:lvl2pPr>
              <a:buFont typeface="Arial" pitchFamily="34" charset="0"/>
              <a:buChar char="•"/>
              <a:defRPr sz="1600" baseline="0">
                <a:solidFill>
                  <a:schemeClr val="tx1">
                    <a:lumMod val="50000"/>
                    <a:lumOff val="50000"/>
                  </a:schemeClr>
                </a:solidFill>
                <a:latin typeface="Trebuchet MS" pitchFamily="34" charset="0"/>
              </a:defRPr>
            </a:lvl2pPr>
          </a:lstStyle>
          <a:p>
            <a:pPr lvl="0"/>
            <a:r>
              <a:rPr lang="es-ES" dirty="0"/>
              <a:t>Título subtema 1</a:t>
            </a:r>
          </a:p>
          <a:p>
            <a:pPr lvl="1"/>
            <a:r>
              <a:rPr lang="es-ES" dirty="0"/>
              <a:t>Título subtema 1.1</a:t>
            </a:r>
          </a:p>
          <a:p>
            <a:pPr lvl="1"/>
            <a:r>
              <a:rPr lang="es-ES" dirty="0"/>
              <a:t>Título subtema 1.2</a:t>
            </a:r>
          </a:p>
          <a:p>
            <a:pPr lvl="0"/>
            <a:r>
              <a:rPr lang="es-ES" dirty="0"/>
              <a:t>Título subtema 2</a:t>
            </a:r>
          </a:p>
          <a:p>
            <a:pPr lvl="1"/>
            <a:r>
              <a:rPr lang="es-ES" dirty="0"/>
              <a:t>Título subtema 2.1</a:t>
            </a:r>
          </a:p>
          <a:p>
            <a:pPr lvl="1"/>
            <a:r>
              <a:rPr lang="es-ES" dirty="0"/>
              <a:t>Título Subtema 2.2</a:t>
            </a:r>
          </a:p>
          <a:p>
            <a:pPr lvl="0"/>
            <a:r>
              <a:rPr lang="es-ES" dirty="0"/>
              <a:t>Título subtema 3</a:t>
            </a:r>
          </a:p>
          <a:p>
            <a:pPr lvl="1"/>
            <a:r>
              <a:rPr lang="es-ES" dirty="0"/>
              <a:t>Título subtema 3.1</a:t>
            </a:r>
          </a:p>
          <a:p>
            <a:pPr lvl="1"/>
            <a:r>
              <a:rPr lang="es-ES" dirty="0"/>
              <a:t>Título Subtema 3.2</a:t>
            </a:r>
            <a:endParaRPr lang="es-CO" dirty="0"/>
          </a:p>
        </p:txBody>
      </p:sp>
      <p:sp>
        <p:nvSpPr>
          <p:cNvPr id="5" name="1 Título"/>
          <p:cNvSpPr txBox="1">
            <a:spLocks/>
          </p:cNvSpPr>
          <p:nvPr/>
        </p:nvSpPr>
        <p:spPr>
          <a:xfrm>
            <a:off x="467544" y="1340768"/>
            <a:ext cx="7571184" cy="504056"/>
          </a:xfrm>
          <a:prstGeom prst="rect">
            <a:avLst/>
          </a:prstGeom>
        </p:spPr>
        <p:txBody>
          <a:bodyPr>
            <a:normAutofit/>
          </a:bodyPr>
          <a:lstStyle>
            <a:lvl1pPr algn="l">
              <a:defRPr sz="2800" b="1">
                <a:solidFill>
                  <a:srgbClr val="007934"/>
                </a:solidFill>
                <a:latin typeface="Trebuchet MS" pitchFamily="34" charset="0"/>
              </a:defRPr>
            </a:lvl1pPr>
          </a:lstStyle>
          <a:p>
            <a:pPr>
              <a:spcBef>
                <a:spcPct val="0"/>
              </a:spcBef>
              <a:defRPr/>
            </a:pPr>
            <a:endParaRPr lang="es-CO" sz="2400" dirty="0">
              <a:solidFill>
                <a:srgbClr val="5DBF0C"/>
              </a:solidFill>
              <a:ea typeface="+mj-ea"/>
              <a:cs typeface="+mj-cs"/>
            </a:endParaRPr>
          </a:p>
        </p:txBody>
      </p:sp>
    </p:spTree>
    <p:extLst>
      <p:ext uri="{BB962C8B-B14F-4D97-AF65-F5344CB8AC3E}">
        <p14:creationId xmlns:p14="http://schemas.microsoft.com/office/powerpoint/2010/main" val="22612960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9944" y="266762"/>
            <a:ext cx="7751761" cy="979487"/>
          </a:xfrm>
        </p:spPr>
        <p:txBody>
          <a:bodyPr/>
          <a:lstStyle/>
          <a:p>
            <a:r>
              <a:rPr lang="es-MX"/>
              <a:t>Título diapositiva</a:t>
            </a:r>
            <a:endParaRPr lang="es-MX" dirty="0"/>
          </a:p>
        </p:txBody>
      </p:sp>
    </p:spTree>
    <p:extLst>
      <p:ext uri="{BB962C8B-B14F-4D97-AF65-F5344CB8AC3E}">
        <p14:creationId xmlns:p14="http://schemas.microsoft.com/office/powerpoint/2010/main" val="41145747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Slide (Full P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9944" y="266761"/>
            <a:ext cx="7751761" cy="865857"/>
          </a:xfrm>
        </p:spPr>
        <p:txBody>
          <a:bodyPr/>
          <a:lstStyle/>
          <a:p>
            <a:r>
              <a:rPr lang="es-MX"/>
              <a:t>Título diapositiva</a:t>
            </a:r>
            <a:endParaRPr lang="es-MX" dirty="0"/>
          </a:p>
        </p:txBody>
      </p:sp>
      <p:sp>
        <p:nvSpPr>
          <p:cNvPr id="3" name="Content Placeholder 2"/>
          <p:cNvSpPr>
            <a:spLocks noGrp="1"/>
          </p:cNvSpPr>
          <p:nvPr>
            <p:ph idx="1"/>
          </p:nvPr>
        </p:nvSpPr>
        <p:spPr>
          <a:xfrm>
            <a:off x="569944" y="1559538"/>
            <a:ext cx="7772401" cy="4611600"/>
          </a:xfrm>
          <a:prstGeom prst="rect">
            <a:avLst/>
          </a:prstGeom>
        </p:spPr>
        <p:txBody>
          <a:bodyPr/>
          <a:lstStyle>
            <a:lvl1pPr>
              <a:buClr>
                <a:schemeClr val="accent3"/>
              </a:buClr>
              <a:defRPr sz="1600">
                <a:solidFill>
                  <a:srgbClr val="787878"/>
                </a:solidFill>
              </a:defRPr>
            </a:lvl1pPr>
            <a:lvl2pPr marL="457200" indent="-273050">
              <a:defRPr sz="1600">
                <a:solidFill>
                  <a:srgbClr val="787878"/>
                </a:solidFill>
              </a:defRPr>
            </a:lvl2pPr>
            <a:lvl3pPr>
              <a:buClr>
                <a:schemeClr val="accent3"/>
              </a:buClr>
              <a:defRPr sz="1600">
                <a:solidFill>
                  <a:srgbClr val="787878"/>
                </a:solidFill>
              </a:defRPr>
            </a:lvl3pPr>
            <a:lvl4pPr>
              <a:defRPr sz="1600">
                <a:solidFill>
                  <a:srgbClr val="787878"/>
                </a:solidFill>
              </a:defRPr>
            </a:lvl4pPr>
            <a:lvl5pPr>
              <a:buClr>
                <a:schemeClr val="accent3"/>
              </a:buClr>
              <a:defRPr sz="1600">
                <a:solidFill>
                  <a:srgbClr val="787878"/>
                </a:solidFill>
              </a:defRPr>
            </a:lvl5pPr>
          </a:lstStyle>
          <a:p>
            <a:pPr lvl="0"/>
            <a:r>
              <a:rPr lang="es-MX"/>
              <a:t>Click to edit Master text styles</a:t>
            </a:r>
          </a:p>
          <a:p>
            <a:pPr lvl="1"/>
            <a:r>
              <a:rPr lang="es-MX"/>
              <a:t>Second level</a:t>
            </a:r>
          </a:p>
          <a:p>
            <a:pPr lvl="2"/>
            <a:r>
              <a:rPr lang="es-MX"/>
              <a:t>Third level</a:t>
            </a:r>
          </a:p>
          <a:p>
            <a:pPr lvl="3"/>
            <a:r>
              <a:rPr lang="es-MX"/>
              <a:t>Fourth level</a:t>
            </a:r>
          </a:p>
          <a:p>
            <a:pPr lvl="4"/>
            <a:r>
              <a:rPr lang="es-MX"/>
              <a:t>Fifth level</a:t>
            </a:r>
            <a:endParaRPr lang="es-MX" dirty="0"/>
          </a:p>
        </p:txBody>
      </p:sp>
      <p:sp>
        <p:nvSpPr>
          <p:cNvPr id="7" name="Text Placeholder 6"/>
          <p:cNvSpPr>
            <a:spLocks noGrp="1"/>
          </p:cNvSpPr>
          <p:nvPr>
            <p:ph type="body" sz="quarter" idx="10"/>
          </p:nvPr>
        </p:nvSpPr>
        <p:spPr>
          <a:xfrm>
            <a:off x="557677" y="1132440"/>
            <a:ext cx="7766050" cy="485775"/>
          </a:xfrm>
          <a:prstGeom prst="rect">
            <a:avLst/>
          </a:prstGeom>
        </p:spPr>
        <p:txBody>
          <a:bodyPr/>
          <a:lstStyle>
            <a:lvl1pPr marL="0" indent="0">
              <a:buFontTx/>
              <a:buNone/>
              <a:defRPr sz="2200" b="1">
                <a:solidFill>
                  <a:srgbClr val="5DBF0C"/>
                </a:solidFill>
              </a:defRPr>
            </a:lvl1pPr>
            <a:lvl2pPr marL="183600" indent="0">
              <a:buFontTx/>
              <a:buNone/>
              <a:defRPr sz="2200"/>
            </a:lvl2pPr>
            <a:lvl3pPr marL="357188" indent="0">
              <a:buFontTx/>
              <a:buNone/>
              <a:defRPr sz="2200"/>
            </a:lvl3pPr>
            <a:lvl4pPr marL="538163" indent="0">
              <a:buFontTx/>
              <a:buNone/>
              <a:defRPr sz="2200"/>
            </a:lvl4pPr>
            <a:lvl5pPr marL="720000" indent="0">
              <a:buFontTx/>
              <a:buNone/>
              <a:defRPr sz="2200"/>
            </a:lvl5pPr>
          </a:lstStyle>
          <a:p>
            <a:pPr lvl="0"/>
            <a:r>
              <a:rPr lang="es-MX"/>
              <a:t>Click to edit Master text styles</a:t>
            </a:r>
            <a:endParaRPr lang="es-MX" dirty="0"/>
          </a:p>
        </p:txBody>
      </p:sp>
    </p:spTree>
    <p:extLst>
      <p:ext uri="{BB962C8B-B14F-4D97-AF65-F5344CB8AC3E}">
        <p14:creationId xmlns:p14="http://schemas.microsoft.com/office/powerpoint/2010/main" val="25416560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MX"/>
              <a:t>Click to edit Master title style</a:t>
            </a:r>
            <a:endParaRPr lang="es-MX" dirty="0"/>
          </a:p>
        </p:txBody>
      </p:sp>
      <p:sp>
        <p:nvSpPr>
          <p:cNvPr id="3" name="Content Placeholder 2"/>
          <p:cNvSpPr>
            <a:spLocks noGrp="1"/>
          </p:cNvSpPr>
          <p:nvPr>
            <p:ph sz="half" idx="1"/>
          </p:nvPr>
        </p:nvSpPr>
        <p:spPr>
          <a:xfrm>
            <a:off x="569917" y="1569599"/>
            <a:ext cx="3861250" cy="4611600"/>
          </a:xfrm>
          <a:prstGeom prst="rect">
            <a:avLst/>
          </a:prstGeo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s-MX"/>
              <a:t>Click to edit Master text styles</a:t>
            </a:r>
          </a:p>
          <a:p>
            <a:pPr lvl="1"/>
            <a:r>
              <a:rPr lang="es-MX"/>
              <a:t>Second level</a:t>
            </a:r>
          </a:p>
          <a:p>
            <a:pPr lvl="2"/>
            <a:r>
              <a:rPr lang="es-MX"/>
              <a:t>Third level</a:t>
            </a:r>
          </a:p>
          <a:p>
            <a:pPr lvl="3"/>
            <a:r>
              <a:rPr lang="es-MX"/>
              <a:t>Fourth level</a:t>
            </a:r>
          </a:p>
          <a:p>
            <a:pPr lvl="4"/>
            <a:r>
              <a:rPr lang="es-MX"/>
              <a:t>Fifth level</a:t>
            </a:r>
            <a:endParaRPr lang="es-MX" dirty="0"/>
          </a:p>
        </p:txBody>
      </p:sp>
      <p:sp>
        <p:nvSpPr>
          <p:cNvPr id="4" name="Content Placeholder 3"/>
          <p:cNvSpPr>
            <a:spLocks noGrp="1"/>
          </p:cNvSpPr>
          <p:nvPr>
            <p:ph sz="half" idx="2"/>
          </p:nvPr>
        </p:nvSpPr>
        <p:spPr>
          <a:xfrm>
            <a:off x="4582144" y="1569599"/>
            <a:ext cx="3861250" cy="4611600"/>
          </a:xfrm>
          <a:prstGeom prst="rect">
            <a:avLst/>
          </a:prstGeo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s-MX"/>
              <a:t>Click to edit Master text styles</a:t>
            </a:r>
          </a:p>
          <a:p>
            <a:pPr lvl="1"/>
            <a:r>
              <a:rPr lang="es-MX"/>
              <a:t>Second level</a:t>
            </a:r>
          </a:p>
          <a:p>
            <a:pPr lvl="2"/>
            <a:r>
              <a:rPr lang="es-MX"/>
              <a:t>Third level</a:t>
            </a:r>
          </a:p>
          <a:p>
            <a:pPr lvl="3"/>
            <a:r>
              <a:rPr lang="es-MX"/>
              <a:t>Fourth level</a:t>
            </a:r>
          </a:p>
          <a:p>
            <a:pPr lvl="4"/>
            <a:r>
              <a:rPr lang="es-MX"/>
              <a:t>Fifth level</a:t>
            </a:r>
          </a:p>
        </p:txBody>
      </p:sp>
    </p:spTree>
    <p:extLst>
      <p:ext uri="{BB962C8B-B14F-4D97-AF65-F5344CB8AC3E}">
        <p14:creationId xmlns:p14="http://schemas.microsoft.com/office/powerpoint/2010/main" val="39873779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21872035"/>
              </p:ext>
            </p:extLst>
          </p:nvPr>
        </p:nvGraphicFramePr>
        <p:xfrm>
          <a:off x="1619" y="1650"/>
          <a:ext cx="1587" cy="1587"/>
        </p:xfrm>
        <a:graphic>
          <a:graphicData uri="http://schemas.openxmlformats.org/presentationml/2006/ole">
            <mc:AlternateContent xmlns:mc="http://schemas.openxmlformats.org/markup-compatibility/2006">
              <mc:Choice xmlns:v="urn:schemas-microsoft-com:vml" Requires="v">
                <p:oleObj spid="_x0000_s214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9" y="165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1 Imagen"/>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pic>
        <p:nvPicPr>
          <p:cNvPr id="7" name="14 Imagen" descr="CapaSeparadorTemaPlantilla.png"/>
          <p:cNvPicPr>
            <a:picLocks noChangeAspect="1"/>
          </p:cNvPicPr>
          <p:nvPr/>
        </p:nvPicPr>
        <p:blipFill>
          <a:blip r:embed="rId7" cstate="print"/>
          <a:stretch>
            <a:fillRect/>
          </a:stretch>
        </p:blipFill>
        <p:spPr>
          <a:xfrm>
            <a:off x="31" y="0"/>
            <a:ext cx="9143999" cy="6858000"/>
          </a:xfrm>
          <a:prstGeom prst="rect">
            <a:avLst/>
          </a:prstGeom>
        </p:spPr>
      </p:pic>
      <p:sp>
        <p:nvSpPr>
          <p:cNvPr id="10" name="Text Placeholder 9"/>
          <p:cNvSpPr>
            <a:spLocks noGrp="1"/>
          </p:cNvSpPr>
          <p:nvPr>
            <p:ph type="body" sz="quarter" idx="10"/>
          </p:nvPr>
        </p:nvSpPr>
        <p:spPr>
          <a:xfrm>
            <a:off x="2579718" y="5970588"/>
            <a:ext cx="6177451" cy="519112"/>
          </a:xfrm>
          <a:prstGeom prst="rect">
            <a:avLst/>
          </a:prstGeom>
        </p:spPr>
        <p:txBody>
          <a:bodyPr/>
          <a:lstStyle>
            <a:lvl1pPr marL="0" indent="0">
              <a:spcBef>
                <a:spcPts val="768"/>
              </a:spcBef>
              <a:buFontTx/>
              <a:buNone/>
              <a:defRPr sz="3200" b="1">
                <a:solidFill>
                  <a:srgbClr val="007635"/>
                </a:solidFill>
              </a:defRPr>
            </a:lvl1pPr>
            <a:lvl2pPr marL="183600" indent="0">
              <a:buFontTx/>
              <a:buNone/>
              <a:defRPr/>
            </a:lvl2pPr>
            <a:lvl3pPr marL="357188" indent="0">
              <a:buFontTx/>
              <a:buNone/>
              <a:defRPr/>
            </a:lvl3pPr>
            <a:lvl4pPr marL="538163" indent="0">
              <a:buFontTx/>
              <a:buNone/>
              <a:defRPr/>
            </a:lvl4pPr>
            <a:lvl5pPr marL="720000" indent="0">
              <a:buFontTx/>
              <a:buNone/>
              <a:defRPr/>
            </a:lvl5pPr>
          </a:lstStyle>
          <a:p>
            <a:pPr lvl="0"/>
            <a:r>
              <a:rPr lang="es-MX"/>
              <a:t>Click to edit Master text styles</a:t>
            </a:r>
            <a:endParaRPr lang="es-MX" dirty="0"/>
          </a:p>
        </p:txBody>
      </p:sp>
    </p:spTree>
    <p:extLst>
      <p:ext uri="{BB962C8B-B14F-4D97-AF65-F5344CB8AC3E}">
        <p14:creationId xmlns:p14="http://schemas.microsoft.com/office/powerpoint/2010/main" val="3526919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OC">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35490281"/>
              </p:ext>
            </p:extLst>
          </p:nvPr>
        </p:nvGraphicFramePr>
        <p:xfrm>
          <a:off x="1619" y="1650"/>
          <a:ext cx="1587" cy="1587"/>
        </p:xfrm>
        <a:graphic>
          <a:graphicData uri="http://schemas.openxmlformats.org/presentationml/2006/ole">
            <mc:AlternateContent xmlns:mc="http://schemas.openxmlformats.org/markup-compatibility/2006">
              <mc:Choice xmlns:v="urn:schemas-microsoft-com:vml" Requires="v">
                <p:oleObj spid="_x0000_s316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9" y="165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2 Imagen"/>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6" name="6 CuadroTexto"/>
          <p:cNvSpPr txBox="1"/>
          <p:nvPr/>
        </p:nvSpPr>
        <p:spPr>
          <a:xfrm>
            <a:off x="-6104" y="6566085"/>
            <a:ext cx="483183" cy="523220"/>
          </a:xfrm>
          <a:prstGeom prst="rect">
            <a:avLst/>
          </a:prstGeom>
        </p:spPr>
        <p:txBody>
          <a:bodyPr wrap="square" rtlCol="0">
            <a:spAutoFit/>
          </a:bodyPr>
          <a:lstStyle/>
          <a:p>
            <a:pPr algn="ctr">
              <a:spcBef>
                <a:spcPct val="0"/>
              </a:spcBef>
              <a:defRPr/>
            </a:pPr>
            <a:fld id="{034D4164-CED8-46B7-A73C-C07DEB61E7BB}" type="slidenum">
              <a:rPr lang="es-MX" sz="1400" b="1" smtClean="0">
                <a:solidFill>
                  <a:srgbClr val="007635"/>
                </a:solidFill>
                <a:latin typeface="Trebuchet MS"/>
              </a:rPr>
              <a:pPr algn="ctr">
                <a:spcBef>
                  <a:spcPct val="0"/>
                </a:spcBef>
                <a:defRPr/>
              </a:pPr>
              <a:t>‹Nº›</a:t>
            </a:fld>
            <a:endParaRPr lang="es-MX" sz="1400" b="1" dirty="0">
              <a:solidFill>
                <a:srgbClr val="007635"/>
              </a:solidFill>
              <a:latin typeface="Trebuchet MS"/>
            </a:endParaRPr>
          </a:p>
        </p:txBody>
      </p:sp>
      <p:sp>
        <p:nvSpPr>
          <p:cNvPr id="20" name="Title 19"/>
          <p:cNvSpPr>
            <a:spLocks noGrp="1"/>
          </p:cNvSpPr>
          <p:nvPr>
            <p:ph type="title"/>
          </p:nvPr>
        </p:nvSpPr>
        <p:spPr/>
        <p:txBody>
          <a:bodyPr/>
          <a:lstStyle>
            <a:lvl1pPr>
              <a:defRPr sz="2400"/>
            </a:lvl1pPr>
          </a:lstStyle>
          <a:p>
            <a:r>
              <a:rPr lang="es-MX"/>
              <a:t>Click to edit Master title style</a:t>
            </a:r>
            <a:endParaRPr lang="es-MX" dirty="0"/>
          </a:p>
        </p:txBody>
      </p:sp>
      <p:sp>
        <p:nvSpPr>
          <p:cNvPr id="22" name="Text Placeholder 21"/>
          <p:cNvSpPr>
            <a:spLocks noGrp="1"/>
          </p:cNvSpPr>
          <p:nvPr>
            <p:ph type="body" sz="quarter" idx="10"/>
          </p:nvPr>
        </p:nvSpPr>
        <p:spPr>
          <a:xfrm>
            <a:off x="569913" y="1331731"/>
            <a:ext cx="7751762" cy="441325"/>
          </a:xfrm>
          <a:prstGeom prst="rect">
            <a:avLst/>
          </a:prstGeom>
        </p:spPr>
        <p:txBody>
          <a:bodyPr/>
          <a:lstStyle>
            <a:lvl1pPr marL="0" indent="0">
              <a:buFontTx/>
              <a:buNone/>
              <a:defRPr sz="2100" b="1">
                <a:solidFill>
                  <a:srgbClr val="5DBF0C"/>
                </a:solidFill>
              </a:defRPr>
            </a:lvl1pPr>
            <a:lvl2pPr marL="183600" indent="0">
              <a:buFontTx/>
              <a:buNone/>
              <a:defRPr sz="2100" b="1">
                <a:solidFill>
                  <a:srgbClr val="5DBF0C"/>
                </a:solidFill>
              </a:defRPr>
            </a:lvl2pPr>
            <a:lvl3pPr marL="357188" indent="0">
              <a:buFontTx/>
              <a:buNone/>
              <a:defRPr sz="2100" b="1">
                <a:solidFill>
                  <a:srgbClr val="5DBF0C"/>
                </a:solidFill>
              </a:defRPr>
            </a:lvl3pPr>
            <a:lvl4pPr marL="538163" indent="0">
              <a:buFontTx/>
              <a:buNone/>
              <a:defRPr sz="2100" b="1">
                <a:solidFill>
                  <a:srgbClr val="5DBF0C"/>
                </a:solidFill>
              </a:defRPr>
            </a:lvl4pPr>
            <a:lvl5pPr marL="720000" indent="0">
              <a:buFontTx/>
              <a:buNone/>
              <a:defRPr sz="2100" b="1">
                <a:solidFill>
                  <a:srgbClr val="5DBF0C"/>
                </a:solidFill>
              </a:defRPr>
            </a:lvl5pPr>
          </a:lstStyle>
          <a:p>
            <a:pPr lvl="0"/>
            <a:r>
              <a:rPr lang="es-MX"/>
              <a:t>Click to edit Master text styles</a:t>
            </a:r>
            <a:endParaRPr lang="es-MX" dirty="0"/>
          </a:p>
        </p:txBody>
      </p:sp>
      <p:sp>
        <p:nvSpPr>
          <p:cNvPr id="24" name="Text Placeholder 23"/>
          <p:cNvSpPr>
            <a:spLocks noGrp="1"/>
          </p:cNvSpPr>
          <p:nvPr>
            <p:ph type="body" sz="quarter" idx="11"/>
          </p:nvPr>
        </p:nvSpPr>
        <p:spPr>
          <a:xfrm>
            <a:off x="569913" y="1726102"/>
            <a:ext cx="7751762" cy="4554537"/>
          </a:xfrm>
          <a:prstGeom prst="rect">
            <a:avLst/>
          </a:prstGeom>
        </p:spPr>
        <p:txBody>
          <a:bodyPr lIns="0" rIns="0"/>
          <a:lstStyle>
            <a:lvl1pPr marL="342900" indent="-342900">
              <a:spcBef>
                <a:spcPts val="480"/>
              </a:spcBef>
              <a:buClr>
                <a:schemeClr val="tx1"/>
              </a:buClr>
              <a:buFont typeface="Courier New" pitchFamily="49" charset="0"/>
              <a:buChar char="o"/>
              <a:defRPr sz="2000" b="1">
                <a:solidFill>
                  <a:srgbClr val="787878"/>
                </a:solidFill>
              </a:defRPr>
            </a:lvl1pPr>
            <a:lvl2pPr marL="692150" indent="-227013">
              <a:spcBef>
                <a:spcPts val="480"/>
              </a:spcBef>
              <a:buClr>
                <a:schemeClr val="tx1"/>
              </a:buClr>
              <a:buFont typeface="Arial" pitchFamily="34" charset="0"/>
              <a:buChar char="•"/>
              <a:defRPr sz="1600" b="0">
                <a:solidFill>
                  <a:srgbClr val="979797"/>
                </a:solidFill>
              </a:defRPr>
            </a:lvl2pPr>
            <a:lvl3pPr marL="538163" indent="-180975">
              <a:buClr>
                <a:schemeClr val="tx1"/>
              </a:buClr>
              <a:buFont typeface="Courier New" pitchFamily="49" charset="0"/>
              <a:buChar char="o"/>
              <a:defRPr sz="2000" b="1">
                <a:solidFill>
                  <a:srgbClr val="787878"/>
                </a:solidFill>
              </a:defRPr>
            </a:lvl3pPr>
            <a:lvl4pPr marL="719138" indent="-180975">
              <a:buClr>
                <a:schemeClr val="tx1"/>
              </a:buClr>
              <a:buFont typeface="Courier New" pitchFamily="49" charset="0"/>
              <a:buChar char="o"/>
              <a:defRPr sz="2000" b="1">
                <a:solidFill>
                  <a:srgbClr val="787878"/>
                </a:solidFill>
              </a:defRPr>
            </a:lvl4pPr>
            <a:lvl5pPr marL="900000" indent="-180000">
              <a:buClr>
                <a:schemeClr val="tx1"/>
              </a:buClr>
              <a:buFont typeface="Courier New" pitchFamily="49" charset="0"/>
              <a:buChar char="o"/>
              <a:defRPr sz="2000" b="1">
                <a:solidFill>
                  <a:srgbClr val="787878"/>
                </a:solidFill>
              </a:defRPr>
            </a:lvl5pPr>
          </a:lstStyle>
          <a:p>
            <a:pPr lvl="0"/>
            <a:r>
              <a:rPr lang="es-MX"/>
              <a:t>Click to edit Master text styles</a:t>
            </a:r>
          </a:p>
          <a:p>
            <a:pPr lvl="1"/>
            <a:r>
              <a:rPr lang="es-MX"/>
              <a:t>Second level</a:t>
            </a:r>
          </a:p>
          <a:p>
            <a:pPr lvl="0"/>
            <a:endParaRPr lang="es-MX" dirty="0"/>
          </a:p>
        </p:txBody>
      </p:sp>
    </p:spTree>
    <p:extLst>
      <p:ext uri="{BB962C8B-B14F-4D97-AF65-F5344CB8AC3E}">
        <p14:creationId xmlns:p14="http://schemas.microsoft.com/office/powerpoint/2010/main" val="26377872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ulo Presentación">
    <p:spTree>
      <p:nvGrpSpPr>
        <p:cNvPr id="1" name=""/>
        <p:cNvGrpSpPr/>
        <p:nvPr/>
      </p:nvGrpSpPr>
      <p:grpSpPr>
        <a:xfrm>
          <a:off x="0" y="0"/>
          <a:ext cx="0" cy="0"/>
          <a:chOff x="0" y="0"/>
          <a:chExt cx="0" cy="0"/>
        </a:xfrm>
      </p:grpSpPr>
      <p:pic>
        <p:nvPicPr>
          <p:cNvPr id="6" name="5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1 Título"/>
          <p:cNvSpPr>
            <a:spLocks noGrp="1"/>
          </p:cNvSpPr>
          <p:nvPr>
            <p:ph type="title" hasCustomPrompt="1"/>
          </p:nvPr>
        </p:nvSpPr>
        <p:spPr>
          <a:xfrm>
            <a:off x="457200" y="2767281"/>
            <a:ext cx="7962900" cy="1323439"/>
          </a:xfrm>
          <a:prstGeom prst="rect">
            <a:avLst/>
          </a:prstGeom>
        </p:spPr>
        <p:txBody>
          <a:bodyPr anchor="ctr">
            <a:spAutoFit/>
          </a:bodyPr>
          <a:lstStyle>
            <a:lvl1pPr>
              <a:defRPr sz="4000" b="1">
                <a:solidFill>
                  <a:srgbClr val="007934"/>
                </a:solidFill>
                <a:latin typeface="+mj-lt"/>
              </a:defRPr>
            </a:lvl1pPr>
          </a:lstStyle>
          <a:p>
            <a:r>
              <a:rPr lang="es-ES" dirty="0"/>
              <a:t>Título principal de la Presentación</a:t>
            </a:r>
            <a:endParaRPr lang="es-CO" dirty="0"/>
          </a:p>
        </p:txBody>
      </p:sp>
    </p:spTree>
    <p:extLst>
      <p:ext uri="{BB962C8B-B14F-4D97-AF65-F5344CB8AC3E}">
        <p14:creationId xmlns:p14="http://schemas.microsoft.com/office/powerpoint/2010/main" val="18255036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iapositiva agradecimiento">
    <p:spTree>
      <p:nvGrpSpPr>
        <p:cNvPr id="1" name=""/>
        <p:cNvGrpSpPr/>
        <p:nvPr/>
      </p:nvGrpSpPr>
      <p:grpSpPr>
        <a:xfrm>
          <a:off x="0" y="0"/>
          <a:ext cx="0" cy="0"/>
          <a:chOff x="0" y="0"/>
          <a:chExt cx="0" cy="0"/>
        </a:xfrm>
      </p:grpSpPr>
      <p:pic>
        <p:nvPicPr>
          <p:cNvPr id="3" name="2 Imagen" descr="08_Agradecimiento.jpg"/>
          <p:cNvPicPr>
            <a:picLocks noChangeAspect="1"/>
          </p:cNvPicPr>
          <p:nvPr userDrawn="1"/>
        </p:nvPicPr>
        <p:blipFill>
          <a:blip r:embed="rId2" cstate="print"/>
          <a:stretch>
            <a:fillRect/>
          </a:stretch>
        </p:blipFill>
        <p:spPr>
          <a:xfrm>
            <a:off x="0" y="0"/>
            <a:ext cx="9144000" cy="6858000"/>
          </a:xfrm>
          <a:prstGeom prst="rect">
            <a:avLst/>
          </a:prstGeom>
        </p:spPr>
      </p:pic>
    </p:spTree>
    <p:extLst>
      <p:ext uri="{BB962C8B-B14F-4D97-AF65-F5344CB8AC3E}">
        <p14:creationId xmlns:p14="http://schemas.microsoft.com/office/powerpoint/2010/main" val="18237443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Diapositiva título - subtítulo">
    <p:spTree>
      <p:nvGrpSpPr>
        <p:cNvPr id="1" name=""/>
        <p:cNvGrpSpPr/>
        <p:nvPr/>
      </p:nvGrpSpPr>
      <p:grpSpPr>
        <a:xfrm>
          <a:off x="0" y="0"/>
          <a:ext cx="0" cy="0"/>
          <a:chOff x="0" y="0"/>
          <a:chExt cx="0" cy="0"/>
        </a:xfrm>
      </p:grpSpPr>
      <p:pic>
        <p:nvPicPr>
          <p:cNvPr id="8" name="7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2" name="1 Título"/>
          <p:cNvSpPr>
            <a:spLocks noGrp="1"/>
          </p:cNvSpPr>
          <p:nvPr>
            <p:ph type="title" hasCustomPrompt="1"/>
          </p:nvPr>
        </p:nvSpPr>
        <p:spPr>
          <a:xfrm>
            <a:off x="539554" y="1844824"/>
            <a:ext cx="3816424" cy="3384376"/>
          </a:xfrm>
          <a:prstGeom prst="rect">
            <a:avLst/>
          </a:prstGeom>
        </p:spPr>
        <p:txBody>
          <a:bodyPr/>
          <a:lstStyle>
            <a:lvl1pPr algn="just">
              <a:defRPr sz="1800">
                <a:solidFill>
                  <a:schemeClr val="tx1">
                    <a:lumMod val="65000"/>
                    <a:lumOff val="35000"/>
                  </a:schemeClr>
                </a:solidFill>
                <a:latin typeface="Trebuchet MS" pitchFamily="34" charset="0"/>
              </a:defRPr>
            </a:lvl1pPr>
          </a:lstStyle>
          <a:p>
            <a:r>
              <a:rPr lang="es-ES" dirty="0"/>
              <a:t>Texto párrafo subtema, escriba aquí la información relacionada con el subtema. Texto párrafo subtema, escriba aquí la información relacionada con el subtema. Texto párrafo subtema, escriba aquí la información relacionada con el subtema. Texto párrafo subtema, escriba aquí la información relacionada con el subtema.</a:t>
            </a:r>
            <a:endParaRPr lang="es-CO" dirty="0"/>
          </a:p>
        </p:txBody>
      </p:sp>
      <p:sp>
        <p:nvSpPr>
          <p:cNvPr id="6" name="2 Marcador de texto"/>
          <p:cNvSpPr>
            <a:spLocks noGrp="1"/>
          </p:cNvSpPr>
          <p:nvPr>
            <p:ph type="body" idx="15" hasCustomPrompt="1"/>
          </p:nvPr>
        </p:nvSpPr>
        <p:spPr>
          <a:xfrm>
            <a:off x="544016" y="1340768"/>
            <a:ext cx="7772400" cy="432048"/>
          </a:xfrm>
          <a:prstGeom prst="rect">
            <a:avLst/>
          </a:prstGeom>
        </p:spPr>
        <p:txBody>
          <a:bodyPr anchor="b"/>
          <a:lstStyle>
            <a:lvl1pPr marL="0" indent="0">
              <a:buNone/>
              <a:defRPr sz="24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Subtítulo diapositiva</a:t>
            </a:r>
          </a:p>
        </p:txBody>
      </p:sp>
      <p:sp>
        <p:nvSpPr>
          <p:cNvPr id="7" name="2 Marcador de texto"/>
          <p:cNvSpPr>
            <a:spLocks noGrp="1"/>
          </p:cNvSpPr>
          <p:nvPr>
            <p:ph type="body" idx="13" hasCustomPrompt="1"/>
          </p:nvPr>
        </p:nvSpPr>
        <p:spPr>
          <a:xfrm>
            <a:off x="539552" y="260649"/>
            <a:ext cx="7772400" cy="288032"/>
          </a:xfrm>
          <a:prstGeom prst="rect">
            <a:avLst/>
          </a:prstGeom>
        </p:spPr>
        <p:txBody>
          <a:bodyPr anchor="b"/>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1" name="2 Marcador de texto"/>
          <p:cNvSpPr>
            <a:spLocks noGrp="1"/>
          </p:cNvSpPr>
          <p:nvPr>
            <p:ph type="body" idx="14" hasCustomPrompt="1"/>
          </p:nvPr>
        </p:nvSpPr>
        <p:spPr>
          <a:xfrm>
            <a:off x="544016" y="548680"/>
            <a:ext cx="7772400" cy="432048"/>
          </a:xfrm>
          <a:prstGeom prst="rect">
            <a:avLst/>
          </a:prstGeom>
        </p:spPr>
        <p:txBody>
          <a:bodyPr anchor="b"/>
          <a:lstStyle>
            <a:lvl1pPr marL="0" indent="0">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9" name="6 Marcador de número de diapositiva"/>
          <p:cNvSpPr>
            <a:spLocks noGrp="1"/>
          </p:cNvSpPr>
          <p:nvPr>
            <p:ph type="sldNum" sz="quarter" idx="12"/>
          </p:nvPr>
        </p:nvSpPr>
        <p:spPr>
          <a:xfrm>
            <a:off x="8536843" y="6334461"/>
            <a:ext cx="607163" cy="365125"/>
          </a:xfrm>
          <a:prstGeom prst="rect">
            <a:avLst/>
          </a:prstGeom>
        </p:spPr>
        <p:txBody>
          <a:bodyPr/>
          <a:lstStyle>
            <a:lvl1pPr>
              <a:defRPr>
                <a:solidFill>
                  <a:schemeClr val="tx1">
                    <a:lumMod val="50000"/>
                    <a:lumOff val="50000"/>
                  </a:schemeClr>
                </a:solidFill>
                <a:latin typeface="Trebuchet MS" pitchFamily="34" charset="0"/>
              </a:defRPr>
            </a:lvl1pPr>
          </a:lstStyle>
          <a:p>
            <a:fld id="{6A390CAE-5A1D-442A-B9F1-736C12844423}" type="slidenum">
              <a:rPr lang="es-CO" smtClean="0">
                <a:solidFill>
                  <a:srgbClr val="2F2F2F">
                    <a:lumMod val="50000"/>
                    <a:lumOff val="50000"/>
                  </a:srgbClr>
                </a:solidFill>
              </a:rPr>
              <a:pPr/>
              <a:t>‹Nº›</a:t>
            </a:fld>
            <a:endParaRPr lang="es-CO" dirty="0">
              <a:solidFill>
                <a:srgbClr val="2F2F2F">
                  <a:lumMod val="50000"/>
                  <a:lumOff val="50000"/>
                </a:srgbClr>
              </a:solidFill>
            </a:endParaRPr>
          </a:p>
        </p:txBody>
      </p:sp>
    </p:spTree>
    <p:extLst>
      <p:ext uri="{BB962C8B-B14F-4D97-AF65-F5344CB8AC3E}">
        <p14:creationId xmlns:p14="http://schemas.microsoft.com/office/powerpoint/2010/main" val="1458004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ulo - Texto">
    <p:spTree>
      <p:nvGrpSpPr>
        <p:cNvPr id="1" name=""/>
        <p:cNvGrpSpPr/>
        <p:nvPr/>
      </p:nvGrpSpPr>
      <p:grpSpPr>
        <a:xfrm>
          <a:off x="0" y="0"/>
          <a:ext cx="0" cy="0"/>
          <a:chOff x="0" y="0"/>
          <a:chExt cx="0" cy="0"/>
        </a:xfrm>
      </p:grpSpPr>
      <p:pic>
        <p:nvPicPr>
          <p:cNvPr id="9" name="8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7"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1"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2" name="11 Marcador de texto"/>
          <p:cNvSpPr>
            <a:spLocks noGrp="1"/>
          </p:cNvSpPr>
          <p:nvPr>
            <p:ph type="body" sz="quarter" idx="19"/>
          </p:nvPr>
        </p:nvSpPr>
        <p:spPr>
          <a:xfrm>
            <a:off x="466724" y="1455738"/>
            <a:ext cx="7953376" cy="4483100"/>
          </a:xfrm>
          <a:prstGeom prst="rect">
            <a:avLst/>
          </a:prstGeom>
          <a:ln>
            <a:noFill/>
          </a:ln>
        </p:spPr>
        <p:txBody>
          <a:bodyPr lIns="0" tIns="0" rIns="0" bIns="0" anchor="t"/>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lvl="0"/>
            <a:endParaRPr lang="es-CO" dirty="0"/>
          </a:p>
        </p:txBody>
      </p:sp>
      <p:sp>
        <p:nvSpPr>
          <p:cNvPr id="2" name="1 Marcador de número de diapositiva"/>
          <p:cNvSpPr>
            <a:spLocks noGrp="1"/>
          </p:cNvSpPr>
          <p:nvPr>
            <p:ph type="sldNum" sz="quarter" idx="20"/>
          </p:nvPr>
        </p:nvSpPr>
        <p:spPr/>
        <p:txBody>
          <a:bodyPr/>
          <a:lstStyle/>
          <a:p>
            <a:fld id="{E342E011-D739-4258-81A8-D148B475F0B5}" type="slidenum">
              <a:rPr lang="es-CO" smtClean="0"/>
              <a:t>‹Nº›</a:t>
            </a:fld>
            <a:endParaRPr lang="es-CO"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ulo - Imagen">
    <p:spTree>
      <p:nvGrpSpPr>
        <p:cNvPr id="1" name=""/>
        <p:cNvGrpSpPr/>
        <p:nvPr/>
      </p:nvGrpSpPr>
      <p:grpSpPr>
        <a:xfrm>
          <a:off x="0" y="0"/>
          <a:ext cx="0" cy="0"/>
          <a:chOff x="0" y="0"/>
          <a:chExt cx="0" cy="0"/>
        </a:xfrm>
      </p:grpSpPr>
      <p:pic>
        <p:nvPicPr>
          <p:cNvPr id="7" name="6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3 Marcador de contenido"/>
          <p:cNvSpPr>
            <a:spLocks noGrp="1"/>
          </p:cNvSpPr>
          <p:nvPr>
            <p:ph sz="quarter" idx="18" hasCustomPrompt="1"/>
          </p:nvPr>
        </p:nvSpPr>
        <p:spPr>
          <a:xfrm>
            <a:off x="466725" y="1455738"/>
            <a:ext cx="7932338" cy="4482000"/>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2" name="1 Marcador de número de diapositiva"/>
          <p:cNvSpPr>
            <a:spLocks noGrp="1"/>
          </p:cNvSpPr>
          <p:nvPr>
            <p:ph type="sldNum" sz="quarter" idx="19"/>
          </p:nvPr>
        </p:nvSpPr>
        <p:spPr/>
        <p:txBody>
          <a:bodyPr/>
          <a:lstStyle/>
          <a:p>
            <a:fld id="{E342E011-D739-4258-81A8-D148B475F0B5}" type="slidenum">
              <a:rPr lang="es-CO" smtClean="0"/>
              <a:t>‹Nº›</a:t>
            </a:fld>
            <a:endParaRPr lang="es-CO" dirty="0"/>
          </a:p>
        </p:txBody>
      </p:sp>
    </p:spTree>
    <p:extLst>
      <p:ext uri="{BB962C8B-B14F-4D97-AF65-F5344CB8AC3E}">
        <p14:creationId xmlns:p14="http://schemas.microsoft.com/office/powerpoint/2010/main" val="1432610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ítulo - Texto - Imagen">
    <p:spTree>
      <p:nvGrpSpPr>
        <p:cNvPr id="1" name=""/>
        <p:cNvGrpSpPr/>
        <p:nvPr/>
      </p:nvGrpSpPr>
      <p:grpSpPr>
        <a:xfrm>
          <a:off x="0" y="0"/>
          <a:ext cx="0" cy="0"/>
          <a:chOff x="0" y="0"/>
          <a:chExt cx="0" cy="0"/>
        </a:xfrm>
      </p:grpSpPr>
      <p:pic>
        <p:nvPicPr>
          <p:cNvPr id="9" name="8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3 Marcador de contenido"/>
          <p:cNvSpPr>
            <a:spLocks noGrp="1"/>
          </p:cNvSpPr>
          <p:nvPr>
            <p:ph sz="quarter" idx="18" hasCustomPrompt="1"/>
          </p:nvPr>
        </p:nvSpPr>
        <p:spPr>
          <a:xfrm>
            <a:off x="4691063" y="1456838"/>
            <a:ext cx="3708000" cy="4482000"/>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2" name="11 Marcador de texto"/>
          <p:cNvSpPr>
            <a:spLocks noGrp="1"/>
          </p:cNvSpPr>
          <p:nvPr>
            <p:ph type="body" sz="quarter" idx="19"/>
          </p:nvPr>
        </p:nvSpPr>
        <p:spPr>
          <a:xfrm>
            <a:off x="466724" y="1455738"/>
            <a:ext cx="3978000" cy="4483100"/>
          </a:xfrm>
          <a:prstGeom prst="rect">
            <a:avLst/>
          </a:prstGeom>
          <a:ln>
            <a:noFill/>
          </a:ln>
        </p:spPr>
        <p:txBody>
          <a:bodyPr lIns="0" tIns="0" rIns="0" bIns="0" anchor="t"/>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lvl="0"/>
            <a:endParaRPr lang="es-CO" dirty="0"/>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2" name="1 Marcador de número de diapositiva"/>
          <p:cNvSpPr>
            <a:spLocks noGrp="1"/>
          </p:cNvSpPr>
          <p:nvPr>
            <p:ph type="sldNum" sz="quarter" idx="20"/>
          </p:nvPr>
        </p:nvSpPr>
        <p:spPr/>
        <p:txBody>
          <a:bodyPr/>
          <a:lstStyle/>
          <a:p>
            <a:fld id="{E342E011-D739-4258-81A8-D148B475F0B5}" type="slidenum">
              <a:rPr lang="es-CO" smtClean="0"/>
              <a:t>‹Nº›</a:t>
            </a:fld>
            <a:endParaRPr lang="es-CO" dirty="0"/>
          </a:p>
        </p:txBody>
      </p:sp>
    </p:spTree>
    <p:extLst>
      <p:ext uri="{BB962C8B-B14F-4D97-AF65-F5344CB8AC3E}">
        <p14:creationId xmlns:p14="http://schemas.microsoft.com/office/powerpoint/2010/main" val="16922495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ítulo - Imagen - Texto">
    <p:spTree>
      <p:nvGrpSpPr>
        <p:cNvPr id="1" name=""/>
        <p:cNvGrpSpPr/>
        <p:nvPr/>
      </p:nvGrpSpPr>
      <p:grpSpPr>
        <a:xfrm>
          <a:off x="0" y="0"/>
          <a:ext cx="0" cy="0"/>
          <a:chOff x="0" y="0"/>
          <a:chExt cx="0" cy="0"/>
        </a:xfrm>
      </p:grpSpPr>
      <p:pic>
        <p:nvPicPr>
          <p:cNvPr id="9" name="8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12" name="11 Marcador de texto"/>
          <p:cNvSpPr>
            <a:spLocks noGrp="1"/>
          </p:cNvSpPr>
          <p:nvPr>
            <p:ph type="body" sz="quarter" idx="19"/>
          </p:nvPr>
        </p:nvSpPr>
        <p:spPr>
          <a:xfrm>
            <a:off x="4421063" y="1455738"/>
            <a:ext cx="3978000" cy="4483100"/>
          </a:xfrm>
          <a:prstGeom prst="rect">
            <a:avLst/>
          </a:prstGeom>
          <a:ln>
            <a:noFill/>
          </a:ln>
        </p:spPr>
        <p:txBody>
          <a:bodyPr lIns="0" tIns="0" rIns="0" bIns="0" anchor="ctr"/>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lvl="0"/>
            <a:endParaRPr lang="es-CO" dirty="0"/>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0" name="3 Marcador de contenido"/>
          <p:cNvSpPr>
            <a:spLocks noGrp="1"/>
          </p:cNvSpPr>
          <p:nvPr>
            <p:ph sz="quarter" idx="20" hasCustomPrompt="1"/>
          </p:nvPr>
        </p:nvSpPr>
        <p:spPr>
          <a:xfrm>
            <a:off x="466725" y="1456838"/>
            <a:ext cx="3708000" cy="4482000"/>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2" name="1 Marcador de número de diapositiva"/>
          <p:cNvSpPr>
            <a:spLocks noGrp="1"/>
          </p:cNvSpPr>
          <p:nvPr>
            <p:ph type="sldNum" sz="quarter" idx="21"/>
          </p:nvPr>
        </p:nvSpPr>
        <p:spPr/>
        <p:txBody>
          <a:bodyPr/>
          <a:lstStyle/>
          <a:p>
            <a:fld id="{E342E011-D739-4258-81A8-D148B475F0B5}" type="slidenum">
              <a:rPr lang="es-CO" smtClean="0"/>
              <a:t>‹Nº›</a:t>
            </a:fld>
            <a:endParaRPr lang="es-CO" dirty="0"/>
          </a:p>
        </p:txBody>
      </p:sp>
    </p:spTree>
    <p:extLst>
      <p:ext uri="{BB962C8B-B14F-4D97-AF65-F5344CB8AC3E}">
        <p14:creationId xmlns:p14="http://schemas.microsoft.com/office/powerpoint/2010/main" val="16922495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ítulo - 2 Imagenes - 2 Textos">
    <p:spTree>
      <p:nvGrpSpPr>
        <p:cNvPr id="1" name=""/>
        <p:cNvGrpSpPr/>
        <p:nvPr/>
      </p:nvGrpSpPr>
      <p:grpSpPr>
        <a:xfrm>
          <a:off x="0" y="0"/>
          <a:ext cx="0" cy="0"/>
          <a:chOff x="0" y="0"/>
          <a:chExt cx="0" cy="0"/>
        </a:xfrm>
      </p:grpSpPr>
      <p:pic>
        <p:nvPicPr>
          <p:cNvPr id="15" name="14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3 Marcador de contenido"/>
          <p:cNvSpPr>
            <a:spLocks noGrp="1"/>
          </p:cNvSpPr>
          <p:nvPr>
            <p:ph sz="quarter" idx="18" hasCustomPrompt="1"/>
          </p:nvPr>
        </p:nvSpPr>
        <p:spPr>
          <a:xfrm>
            <a:off x="4680012" y="1456838"/>
            <a:ext cx="3740400" cy="2154725"/>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2" name="11 Marcador de texto"/>
          <p:cNvSpPr>
            <a:spLocks noGrp="1"/>
          </p:cNvSpPr>
          <p:nvPr>
            <p:ph type="body" sz="quarter" idx="19"/>
          </p:nvPr>
        </p:nvSpPr>
        <p:spPr>
          <a:xfrm>
            <a:off x="466724" y="3790950"/>
            <a:ext cx="3978000" cy="2147888"/>
          </a:xfrm>
          <a:prstGeom prst="rect">
            <a:avLst/>
          </a:prstGeom>
          <a:ln>
            <a:noFill/>
          </a:ln>
        </p:spPr>
        <p:txBody>
          <a:bodyPr lIns="0" tIns="0" rIns="0" bIns="0" anchor="t"/>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0" name="11 Marcador de texto"/>
          <p:cNvSpPr>
            <a:spLocks noGrp="1"/>
          </p:cNvSpPr>
          <p:nvPr>
            <p:ph type="body" sz="quarter" idx="20"/>
          </p:nvPr>
        </p:nvSpPr>
        <p:spPr>
          <a:xfrm>
            <a:off x="4680012" y="3790950"/>
            <a:ext cx="3740088" cy="2147888"/>
          </a:xfrm>
          <a:prstGeom prst="rect">
            <a:avLst/>
          </a:prstGeom>
          <a:ln>
            <a:noFill/>
          </a:ln>
        </p:spPr>
        <p:txBody>
          <a:bodyPr lIns="0" tIns="0" rIns="0" bIns="0" anchor="t"/>
          <a:lstStyle>
            <a:lvl1pPr marL="0" marR="0" indent="0" algn="just" defTabSz="914400" rtl="0" eaLnBrk="1" fontAlgn="auto" latinLnBrk="0" hangingPunct="1">
              <a:lnSpc>
                <a:spcPct val="100000"/>
              </a:lnSpc>
              <a:spcBef>
                <a:spcPct val="20000"/>
              </a:spcBef>
              <a:spcAft>
                <a:spcPts val="0"/>
              </a:spcAft>
              <a:buClrTx/>
              <a:buSzTx/>
              <a:buFontTx/>
              <a:buNone/>
              <a:tabLst/>
              <a:defRPr lang="es-CO" sz="1600" kern="1200" baseline="0" dirty="0" smtClean="0">
                <a:solidFill>
                  <a:schemeClr val="tx1">
                    <a:lumMod val="50000"/>
                    <a:lumOff val="50000"/>
                  </a:schemeClr>
                </a:solidFill>
                <a:latin typeface="+mn-lt"/>
                <a:ea typeface="+mn-ea"/>
                <a:cs typeface="+mn-cs"/>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1" name="3 Marcador de contenido"/>
          <p:cNvSpPr>
            <a:spLocks noGrp="1"/>
          </p:cNvSpPr>
          <p:nvPr>
            <p:ph sz="quarter" idx="21" hasCustomPrompt="1"/>
          </p:nvPr>
        </p:nvSpPr>
        <p:spPr>
          <a:xfrm>
            <a:off x="466724" y="1456838"/>
            <a:ext cx="3978000" cy="2154725"/>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2" name="1 Marcador de número de diapositiva"/>
          <p:cNvSpPr>
            <a:spLocks noGrp="1"/>
          </p:cNvSpPr>
          <p:nvPr>
            <p:ph type="sldNum" sz="quarter" idx="22"/>
          </p:nvPr>
        </p:nvSpPr>
        <p:spPr/>
        <p:txBody>
          <a:bodyPr/>
          <a:lstStyle/>
          <a:p>
            <a:fld id="{E342E011-D739-4258-81A8-D148B475F0B5}" type="slidenum">
              <a:rPr lang="es-CO" smtClean="0"/>
              <a:pPr/>
              <a:t>‹Nº›</a:t>
            </a:fld>
            <a:endParaRPr lang="es-CO" dirty="0"/>
          </a:p>
        </p:txBody>
      </p:sp>
    </p:spTree>
    <p:extLst>
      <p:ext uri="{BB962C8B-B14F-4D97-AF65-F5344CB8AC3E}">
        <p14:creationId xmlns:p14="http://schemas.microsoft.com/office/powerpoint/2010/main" val="1292755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ítulo - 2 Imagenes - 2 Textos Cortos">
    <p:spTree>
      <p:nvGrpSpPr>
        <p:cNvPr id="1" name=""/>
        <p:cNvGrpSpPr/>
        <p:nvPr/>
      </p:nvGrpSpPr>
      <p:grpSpPr>
        <a:xfrm>
          <a:off x="0" y="0"/>
          <a:ext cx="0" cy="0"/>
          <a:chOff x="0" y="0"/>
          <a:chExt cx="0" cy="0"/>
        </a:xfrm>
      </p:grpSpPr>
      <p:pic>
        <p:nvPicPr>
          <p:cNvPr id="15" name="14 Imagen" descr="04_Plantilla_contenidos.jpg"/>
          <p:cNvPicPr>
            <a:picLocks noChangeAspect="1"/>
          </p:cNvPicPr>
          <p:nvPr userDrawn="1"/>
        </p:nvPicPr>
        <p:blipFill>
          <a:blip r:embed="rId2" cstate="print"/>
          <a:stretch>
            <a:fillRect/>
          </a:stretch>
        </p:blipFill>
        <p:spPr>
          <a:xfrm>
            <a:off x="0" y="0"/>
            <a:ext cx="9144000" cy="6858000"/>
          </a:xfrm>
          <a:prstGeom prst="rect">
            <a:avLst/>
          </a:prstGeom>
        </p:spPr>
      </p:pic>
      <p:sp>
        <p:nvSpPr>
          <p:cNvPr id="4" name="3 Marcador de contenido"/>
          <p:cNvSpPr>
            <a:spLocks noGrp="1"/>
          </p:cNvSpPr>
          <p:nvPr>
            <p:ph sz="quarter" idx="18" hasCustomPrompt="1"/>
          </p:nvPr>
        </p:nvSpPr>
        <p:spPr>
          <a:xfrm>
            <a:off x="4680012" y="1456838"/>
            <a:ext cx="3740400" cy="3854198"/>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12" name="11 Marcador de texto"/>
          <p:cNvSpPr>
            <a:spLocks noGrp="1"/>
          </p:cNvSpPr>
          <p:nvPr>
            <p:ph type="body" sz="quarter" idx="19"/>
          </p:nvPr>
        </p:nvSpPr>
        <p:spPr>
          <a:xfrm>
            <a:off x="466724" y="5398718"/>
            <a:ext cx="3978000" cy="540120"/>
          </a:xfrm>
          <a:prstGeom prst="rect">
            <a:avLst/>
          </a:prstGeom>
          <a:ln>
            <a:noFill/>
          </a:ln>
        </p:spPr>
        <p:txBody>
          <a:bodyPr lIns="0" tIns="0" rIns="0" bIns="0" anchor="ctr"/>
          <a:lstStyle>
            <a:lvl1pPr marL="0" marR="0" indent="0" algn="just" defTabSz="914400" rtl="0" eaLnBrk="1" fontAlgn="auto" latinLnBrk="0" hangingPunct="1">
              <a:lnSpc>
                <a:spcPct val="125000"/>
              </a:lnSpc>
              <a:spcBef>
                <a:spcPct val="20000"/>
              </a:spcBef>
              <a:spcAft>
                <a:spcPts val="0"/>
              </a:spcAft>
              <a:buClrTx/>
              <a:buSzTx/>
              <a:buFontTx/>
              <a:buNone/>
              <a:tabLst/>
              <a:defRPr sz="1600" baseline="0">
                <a:solidFill>
                  <a:schemeClr val="tx1">
                    <a:lumMod val="50000"/>
                    <a:lumOff val="50000"/>
                  </a:schemeClr>
                </a:solidFill>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3" name="2 Marcador de texto"/>
          <p:cNvSpPr>
            <a:spLocks noGrp="1"/>
          </p:cNvSpPr>
          <p:nvPr>
            <p:ph type="body" idx="13" hasCustomPrompt="1"/>
          </p:nvPr>
        </p:nvSpPr>
        <p:spPr>
          <a:xfrm>
            <a:off x="466725" y="260649"/>
            <a:ext cx="7570800" cy="288032"/>
          </a:xfrm>
          <a:prstGeom prst="rect">
            <a:avLst/>
          </a:prstGeom>
        </p:spPr>
        <p:txBody>
          <a:bodyPr lIns="0" tIns="0" rIns="0" bIns="0" anchor="ctr"/>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ema principal presentación</a:t>
            </a:r>
          </a:p>
        </p:txBody>
      </p:sp>
      <p:sp>
        <p:nvSpPr>
          <p:cNvPr id="14" name="2 Marcador de texto"/>
          <p:cNvSpPr>
            <a:spLocks noGrp="1"/>
          </p:cNvSpPr>
          <p:nvPr>
            <p:ph type="body" idx="14" hasCustomPrompt="1"/>
          </p:nvPr>
        </p:nvSpPr>
        <p:spPr>
          <a:xfrm>
            <a:off x="466725" y="608502"/>
            <a:ext cx="7570800" cy="432048"/>
          </a:xfrm>
          <a:prstGeom prst="rect">
            <a:avLst/>
          </a:prstGeom>
        </p:spPr>
        <p:txBody>
          <a:bodyPr lIns="0" tIns="0" rIns="0" bIns="0" anchor="ctr" anchorCtr="0"/>
          <a:lstStyle>
            <a:lvl1pPr marL="0" indent="0" algn="l">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Título diapositiva</a:t>
            </a:r>
          </a:p>
        </p:txBody>
      </p:sp>
      <p:sp>
        <p:nvSpPr>
          <p:cNvPr id="10" name="11 Marcador de texto"/>
          <p:cNvSpPr>
            <a:spLocks noGrp="1"/>
          </p:cNvSpPr>
          <p:nvPr>
            <p:ph type="body" sz="quarter" idx="20"/>
          </p:nvPr>
        </p:nvSpPr>
        <p:spPr>
          <a:xfrm>
            <a:off x="4680012" y="5398718"/>
            <a:ext cx="3740088" cy="540120"/>
          </a:xfrm>
          <a:prstGeom prst="rect">
            <a:avLst/>
          </a:prstGeom>
          <a:ln>
            <a:noFill/>
          </a:ln>
        </p:spPr>
        <p:txBody>
          <a:bodyPr lIns="0" tIns="0" rIns="0" bIns="0" anchor="ctr"/>
          <a:lstStyle>
            <a:lvl1pPr marL="0" marR="0" indent="0" algn="just" defTabSz="914400" rtl="0" eaLnBrk="1" fontAlgn="auto" latinLnBrk="0" hangingPunct="1">
              <a:lnSpc>
                <a:spcPct val="100000"/>
              </a:lnSpc>
              <a:spcBef>
                <a:spcPct val="20000"/>
              </a:spcBef>
              <a:spcAft>
                <a:spcPts val="0"/>
              </a:spcAft>
              <a:buClrTx/>
              <a:buSzTx/>
              <a:buFontTx/>
              <a:buNone/>
              <a:tabLst/>
              <a:defRPr lang="es-CO" sz="1600" kern="1200" baseline="0" dirty="0" smtClean="0">
                <a:solidFill>
                  <a:schemeClr val="tx1">
                    <a:lumMod val="50000"/>
                    <a:lumOff val="50000"/>
                  </a:schemeClr>
                </a:solidFill>
                <a:latin typeface="+mn-lt"/>
                <a:ea typeface="+mn-ea"/>
                <a:cs typeface="+mn-cs"/>
              </a:defRPr>
            </a:lvl1pPr>
          </a:lstStyle>
          <a:p>
            <a:pPr marL="0" marR="0" lvl="0" indent="0" algn="just" defTabSz="914400" rtl="0" eaLnBrk="1" fontAlgn="auto" latinLnBrk="0" hangingPunct="1">
              <a:lnSpc>
                <a:spcPct val="125000"/>
              </a:lnSpc>
              <a:spcBef>
                <a:spcPct val="20000"/>
              </a:spcBef>
              <a:spcAft>
                <a:spcPts val="0"/>
              </a:spcAft>
              <a:buClrTx/>
              <a:buSzTx/>
              <a:buFontTx/>
              <a:buNone/>
              <a:tabLst/>
              <a:defRPr/>
            </a:pPr>
            <a:endParaRPr lang="es-CO" dirty="0"/>
          </a:p>
        </p:txBody>
      </p:sp>
      <p:sp>
        <p:nvSpPr>
          <p:cNvPr id="11" name="3 Marcador de contenido"/>
          <p:cNvSpPr>
            <a:spLocks noGrp="1"/>
          </p:cNvSpPr>
          <p:nvPr>
            <p:ph sz="quarter" idx="21" hasCustomPrompt="1"/>
          </p:nvPr>
        </p:nvSpPr>
        <p:spPr>
          <a:xfrm>
            <a:off x="466724" y="1456838"/>
            <a:ext cx="3978000" cy="3854198"/>
          </a:xfrm>
          <a:prstGeom prst="rect">
            <a:avLst/>
          </a:prstGeom>
          <a:ln w="19050">
            <a:noFill/>
          </a:ln>
        </p:spPr>
        <p:txBody>
          <a:bodyPr lIns="0" tIns="0" rIns="0" bIns="0"/>
          <a:lstStyle>
            <a:lvl1pPr>
              <a:defRPr lang="es-CO" sz="1600" kern="1200" dirty="0">
                <a:solidFill>
                  <a:schemeClr val="tx1">
                    <a:lumMod val="50000"/>
                    <a:lumOff val="50000"/>
                  </a:schemeClr>
                </a:solidFill>
                <a:latin typeface="Trebuchet MS" pitchFamily="34" charset="0"/>
                <a:ea typeface="+mj-ea"/>
                <a:cs typeface="+mj-cs"/>
              </a:defRPr>
            </a:lvl1pPr>
          </a:lstStyle>
          <a:p>
            <a:pPr lvl="0"/>
            <a:r>
              <a:rPr lang="es-CO" dirty="0"/>
              <a:t>Insertar objeto</a:t>
            </a:r>
          </a:p>
        </p:txBody>
      </p:sp>
      <p:sp>
        <p:nvSpPr>
          <p:cNvPr id="2" name="1 Marcador de número de diapositiva"/>
          <p:cNvSpPr>
            <a:spLocks noGrp="1"/>
          </p:cNvSpPr>
          <p:nvPr>
            <p:ph type="sldNum" sz="quarter" idx="22"/>
          </p:nvPr>
        </p:nvSpPr>
        <p:spPr/>
        <p:txBody>
          <a:bodyPr/>
          <a:lstStyle/>
          <a:p>
            <a:fld id="{E342E011-D739-4258-81A8-D148B475F0B5}" type="slidenum">
              <a:rPr lang="es-CO" smtClean="0"/>
              <a:pPr/>
              <a:t>‹Nº›</a:t>
            </a:fld>
            <a:endParaRPr lang="es-CO" dirty="0"/>
          </a:p>
        </p:txBody>
      </p:sp>
    </p:spTree>
    <p:extLst>
      <p:ext uri="{BB962C8B-B14F-4D97-AF65-F5344CB8AC3E}">
        <p14:creationId xmlns:p14="http://schemas.microsoft.com/office/powerpoint/2010/main" val="1292755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6.jpe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image" Target="../media/image5.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oleObject" Target="../embeddings/oleObject1.bin"/><Relationship Id="rId5" Type="http://schemas.openxmlformats.org/officeDocument/2006/relationships/slideLayout" Target="../slideLayouts/slideLayout29.xml"/><Relationship Id="rId10" Type="http://schemas.openxmlformats.org/officeDocument/2006/relationships/tags" Target="../tags/tag1.xml"/><Relationship Id="rId4" Type="http://schemas.openxmlformats.org/officeDocument/2006/relationships/slideLayout" Target="../slideLayouts/slideLayout28.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4" name="3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E342E011-D739-4258-81A8-D148B475F0B5}" type="slidenum">
              <a:rPr lang="es-CO" smtClean="0"/>
              <a:pPr/>
              <a:t>‹Nº›</a:t>
            </a:fld>
            <a:endParaRPr lang="es-CO" dirty="0"/>
          </a:p>
        </p:txBody>
      </p:sp>
    </p:spTree>
  </p:cSld>
  <p:clrMap bg1="dk1" tx1="lt1" bg2="dk2" tx2="lt2" accent1="accent1" accent2="accent2" accent3="accent3" accent4="accent4" accent5="accent5" accent6="accent6" hlink="hlink" folHlink="folHlink"/>
  <p:sldLayoutIdLst>
    <p:sldLayoutId id="2147483649" r:id="rId1"/>
    <p:sldLayoutId id="2147483671" r:id="rId2"/>
    <p:sldLayoutId id="2147483688" r:id="rId3"/>
    <p:sldLayoutId id="2147483661" r:id="rId4"/>
    <p:sldLayoutId id="2147483672" r:id="rId5"/>
    <p:sldLayoutId id="2147483674" r:id="rId6"/>
    <p:sldLayoutId id="2147483695" r:id="rId7"/>
    <p:sldLayoutId id="2147483675" r:id="rId8"/>
    <p:sldLayoutId id="2147483697" r:id="rId9"/>
    <p:sldLayoutId id="2147483696" r:id="rId10"/>
    <p:sldLayoutId id="2147483698" r:id="rId11"/>
    <p:sldLayoutId id="2147483693" r:id="rId12"/>
    <p:sldLayoutId id="2147483689" r:id="rId13"/>
    <p:sldLayoutId id="2147483690" r:id="rId14"/>
    <p:sldLayoutId id="2147483694" r:id="rId15"/>
    <p:sldLayoutId id="2147483691" r:id="rId16"/>
    <p:sldLayoutId id="2147483699" r:id="rId17"/>
    <p:sldLayoutId id="2147483700" r:id="rId18"/>
    <p:sldLayoutId id="2147483701" r:id="rId19"/>
    <p:sldLayoutId id="2147483669" r:id="rId20"/>
    <p:sldLayoutId id="2147483670" r:id="rId21"/>
    <p:sldLayoutId id="2147483687" r:id="rId22"/>
    <p:sldLayoutId id="2147483662" r:id="rId23"/>
    <p:sldLayoutId id="2147483710" r:id="rId24"/>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extLst>
              <p:ext uri="{D42A27DB-BD31-4B8C-83A1-F6EECF244321}">
                <p14:modId xmlns:p14="http://schemas.microsoft.com/office/powerpoint/2010/main" val="3356211976"/>
              </p:ext>
            </p:extLst>
          </p:nvPr>
        </p:nvGraphicFramePr>
        <p:xfrm>
          <a:off x="1619" y="1650"/>
          <a:ext cx="1587" cy="1587"/>
        </p:xfrm>
        <a:graphic>
          <a:graphicData uri="http://schemas.openxmlformats.org/presentationml/2006/ole">
            <mc:AlternateContent xmlns:mc="http://schemas.openxmlformats.org/markup-compatibility/2006">
              <mc:Choice xmlns:v="urn:schemas-microsoft-com:vml" Requires="v">
                <p:oleObj spid="_x0000_s1120"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19" y="165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2 Imagen"/>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569944" y="266762"/>
            <a:ext cx="7751761" cy="979487"/>
          </a:xfrm>
          <a:prstGeom prst="rect">
            <a:avLst/>
          </a:prstGeom>
        </p:spPr>
        <p:txBody>
          <a:bodyPr vert="horz" lIns="0" tIns="0" rIns="0" bIns="0" rtlCol="0" anchor="t" anchorCtr="0">
            <a:noAutofit/>
          </a:bodyPr>
          <a:lstStyle/>
          <a:p>
            <a:pPr lvl="0"/>
            <a:r>
              <a:rPr lang="es-MX"/>
              <a:t>Título diapositiva</a:t>
            </a:r>
            <a:endParaRPr lang="es-MX" dirty="0"/>
          </a:p>
        </p:txBody>
      </p:sp>
      <p:sp>
        <p:nvSpPr>
          <p:cNvPr id="19" name="6 CuadroTexto"/>
          <p:cNvSpPr txBox="1"/>
          <p:nvPr/>
        </p:nvSpPr>
        <p:spPr>
          <a:xfrm>
            <a:off x="-6104" y="6566085"/>
            <a:ext cx="483183" cy="523220"/>
          </a:xfrm>
          <a:prstGeom prst="rect">
            <a:avLst/>
          </a:prstGeom>
        </p:spPr>
        <p:txBody>
          <a:bodyPr wrap="square" rtlCol="0">
            <a:spAutoFit/>
          </a:bodyPr>
          <a:lstStyle/>
          <a:p>
            <a:pPr algn="ctr">
              <a:spcBef>
                <a:spcPct val="0"/>
              </a:spcBef>
              <a:defRPr/>
            </a:pPr>
            <a:fld id="{034D4164-CED8-46B7-A73C-C07DEB61E7BB}" type="slidenum">
              <a:rPr lang="es-MX" sz="1400" b="1" smtClean="0">
                <a:solidFill>
                  <a:srgbClr val="007635"/>
                </a:solidFill>
                <a:latin typeface="Trebuchet MS"/>
              </a:rPr>
              <a:pPr algn="ctr">
                <a:spcBef>
                  <a:spcPct val="0"/>
                </a:spcBef>
                <a:defRPr/>
              </a:pPr>
              <a:t>‹Nº›</a:t>
            </a:fld>
            <a:endParaRPr lang="es-MX" sz="1400" b="1" dirty="0">
              <a:solidFill>
                <a:srgbClr val="007635"/>
              </a:solidFill>
              <a:latin typeface="Trebuchet MS"/>
            </a:endParaRPr>
          </a:p>
        </p:txBody>
      </p:sp>
    </p:spTree>
    <p:extLst>
      <p:ext uri="{BB962C8B-B14F-4D97-AF65-F5344CB8AC3E}">
        <p14:creationId xmlns:p14="http://schemas.microsoft.com/office/powerpoint/2010/main" val="60667086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Lst>
  <p:hf hdr="0" ftr="0"/>
  <p:txStyles>
    <p:titleStyle>
      <a:lvl1pPr algn="l" defTabSz="914400" rtl="0" eaLnBrk="1" latinLnBrk="0" hangingPunct="1">
        <a:spcBef>
          <a:spcPct val="0"/>
        </a:spcBef>
        <a:buNone/>
        <a:defRPr sz="2400" b="1" kern="1200">
          <a:solidFill>
            <a:srgbClr val="007934"/>
          </a:solidFill>
          <a:latin typeface="+mn-lt"/>
          <a:ea typeface="+mj-ea"/>
          <a:cs typeface="+mj-cs"/>
        </a:defRPr>
      </a:lvl1pPr>
    </p:titleStyle>
    <p:bodyStyle>
      <a:lvl1pPr marL="183600" indent="-183600" algn="l" defTabSz="914400" rtl="0" eaLnBrk="1" latinLnBrk="0" hangingPunct="1">
        <a:spcBef>
          <a:spcPts val="1920"/>
        </a:spcBef>
        <a:buClr>
          <a:srgbClr val="007934"/>
        </a:buClr>
        <a:buFont typeface="Arial" pitchFamily="34" charset="0"/>
        <a:buChar char="•"/>
        <a:defRPr sz="1600" kern="1200">
          <a:solidFill>
            <a:srgbClr val="787878"/>
          </a:solidFill>
          <a:latin typeface="Trebuchet MS" pitchFamily="34" charset="0"/>
          <a:ea typeface="+mn-ea"/>
          <a:cs typeface="Arial" pitchFamily="34" charset="0"/>
        </a:defRPr>
      </a:lvl1pPr>
      <a:lvl2pPr marL="356400" indent="-172800" algn="l" defTabSz="914400" rtl="0" eaLnBrk="1" latinLnBrk="0" hangingPunct="1">
        <a:lnSpc>
          <a:spcPct val="90000"/>
        </a:lnSpc>
        <a:spcBef>
          <a:spcPts val="768"/>
        </a:spcBef>
        <a:buClr>
          <a:srgbClr val="007934"/>
        </a:buClr>
        <a:buFont typeface="Arial" pitchFamily="34" charset="0"/>
        <a:buChar char="–"/>
        <a:defRPr sz="1600" kern="1200">
          <a:solidFill>
            <a:srgbClr val="787878"/>
          </a:solidFill>
          <a:latin typeface="Trebuchet MS" pitchFamily="34" charset="0"/>
          <a:ea typeface="+mn-ea"/>
          <a:cs typeface="Arial" pitchFamily="34" charset="0"/>
        </a:defRPr>
      </a:lvl2pPr>
      <a:lvl3pPr marL="538163" indent="-180975" algn="l" defTabSz="914400" rtl="0" eaLnBrk="1" latinLnBrk="0" hangingPunct="1">
        <a:lnSpc>
          <a:spcPct val="90000"/>
        </a:lnSpc>
        <a:spcBef>
          <a:spcPts val="768"/>
        </a:spcBef>
        <a:buClr>
          <a:srgbClr val="007934"/>
        </a:buClr>
        <a:buFont typeface="Arial" pitchFamily="34" charset="0"/>
        <a:buChar char="•"/>
        <a:defRPr sz="1600" kern="1200">
          <a:solidFill>
            <a:srgbClr val="787878"/>
          </a:solidFill>
          <a:latin typeface="Trebuchet MS" pitchFamily="34" charset="0"/>
          <a:ea typeface="+mn-ea"/>
          <a:cs typeface="Arial" pitchFamily="34" charset="0"/>
        </a:defRPr>
      </a:lvl3pPr>
      <a:lvl4pPr marL="719138" indent="-180975" algn="l" defTabSz="914400" rtl="0" eaLnBrk="1" latinLnBrk="0" hangingPunct="1">
        <a:lnSpc>
          <a:spcPct val="90000"/>
        </a:lnSpc>
        <a:spcBef>
          <a:spcPts val="768"/>
        </a:spcBef>
        <a:buClr>
          <a:srgbClr val="007934"/>
        </a:buClr>
        <a:buFont typeface="Arial" pitchFamily="34" charset="0"/>
        <a:buChar char="–"/>
        <a:defRPr sz="1600" kern="1200">
          <a:solidFill>
            <a:srgbClr val="787878"/>
          </a:solidFill>
          <a:latin typeface="Trebuchet MS" pitchFamily="34" charset="0"/>
          <a:ea typeface="+mn-ea"/>
          <a:cs typeface="Arial" pitchFamily="34" charset="0"/>
        </a:defRPr>
      </a:lvl4pPr>
      <a:lvl5pPr marL="900000" indent="-180000" algn="l" defTabSz="914400" rtl="0" eaLnBrk="1" latinLnBrk="0" hangingPunct="1">
        <a:lnSpc>
          <a:spcPct val="90000"/>
        </a:lnSpc>
        <a:spcBef>
          <a:spcPts val="768"/>
        </a:spcBef>
        <a:buClr>
          <a:srgbClr val="007934"/>
        </a:buClr>
        <a:buFont typeface="Arial" pitchFamily="34" charset="0"/>
        <a:buChar char="•"/>
        <a:defRPr sz="1600" kern="1200">
          <a:solidFill>
            <a:srgbClr val="787878"/>
          </a:solidFill>
          <a:latin typeface="Trebuchet MS"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7.png"/><Relationship Id="rId1" Type="http://schemas.openxmlformats.org/officeDocument/2006/relationships/slideLayout" Target="../slideLayouts/slideLayout12.xml"/><Relationship Id="rId6" Type="http://schemas.openxmlformats.org/officeDocument/2006/relationships/image" Target="../media/image19.png"/><Relationship Id="rId5" Type="http://schemas.microsoft.com/office/2007/relationships/hdphoto" Target="../media/hdphoto2.wdp"/><Relationship Id="rId4" Type="http://schemas.openxmlformats.org/officeDocument/2006/relationships/image" Target="../media/image18.png"/><Relationship Id="rId9" Type="http://schemas.microsoft.com/office/2007/relationships/hdphoto" Target="../media/hdphoto4.wdp"/></Relationships>
</file>

<file path=ppt/slides/_rels/slide1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microsoft.com/office/2007/relationships/hdphoto" Target="../media/hdphoto6.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6.pn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1.xml"/><Relationship Id="rId7"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vmlDrawing" Target="../drawings/vmlDrawing4.vml"/><Relationship Id="rId6" Type="http://schemas.openxmlformats.org/officeDocument/2006/relationships/image" Target="../media/image11.png"/><Relationship Id="rId5" Type="http://schemas.openxmlformats.org/officeDocument/2006/relationships/oleObject" Target="../embeddings/oleObject4.bin"/><Relationship Id="rId4" Type="http://schemas.openxmlformats.org/officeDocument/2006/relationships/image" Target="../media/image13.jpe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hyperlink" Target="Recorrido%20Ituango.mp4" TargetMode="Externa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878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57200" y="3075057"/>
            <a:ext cx="7962900" cy="707886"/>
          </a:xfrm>
        </p:spPr>
        <p:txBody>
          <a:bodyPr/>
          <a:lstStyle/>
          <a:p>
            <a:pPr marL="742950" indent="-742950">
              <a:buFont typeface="+mj-lt"/>
              <a:buAutoNum type="arabicPeriod" startAt="2"/>
            </a:pPr>
            <a:r>
              <a:rPr lang="es-CO" dirty="0">
                <a:effectLst>
                  <a:outerShdw blurRad="38100" dist="38100" dir="2700000" algn="tl">
                    <a:srgbClr val="000000">
                      <a:alpha val="43137"/>
                    </a:srgbClr>
                  </a:outerShdw>
                </a:effectLst>
              </a:rPr>
              <a:t>COMPONENTE AMBIENTAL</a:t>
            </a:r>
          </a:p>
        </p:txBody>
      </p:sp>
    </p:spTree>
    <p:extLst>
      <p:ext uri="{BB962C8B-B14F-4D97-AF65-F5344CB8AC3E}">
        <p14:creationId xmlns:p14="http://schemas.microsoft.com/office/powerpoint/2010/main" val="3916623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57200" y="2767281"/>
            <a:ext cx="7962900" cy="1323439"/>
          </a:xfrm>
        </p:spPr>
        <p:txBody>
          <a:bodyPr/>
          <a:lstStyle/>
          <a:p>
            <a:r>
              <a:rPr lang="es-CO" dirty="0">
                <a:effectLst>
                  <a:outerShdw blurRad="38100" dist="38100" dir="2700000" algn="tl">
                    <a:srgbClr val="000000">
                      <a:alpha val="43137"/>
                    </a:srgbClr>
                  </a:outerShdw>
                </a:effectLst>
              </a:rPr>
              <a:t>2.1 Origen de la Regla de Operación</a:t>
            </a:r>
          </a:p>
        </p:txBody>
      </p:sp>
    </p:spTree>
    <p:extLst>
      <p:ext uri="{BB962C8B-B14F-4D97-AF65-F5344CB8AC3E}">
        <p14:creationId xmlns:p14="http://schemas.microsoft.com/office/powerpoint/2010/main" val="3316112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idx="13"/>
          </p:nvPr>
        </p:nvSpPr>
        <p:spPr/>
        <p:txBody>
          <a:bodyPr/>
          <a:lstStyle/>
          <a:p>
            <a:r>
              <a:rPr lang="es-CO" dirty="0"/>
              <a:t>Proyecto Hidroeléctrico Ituango</a:t>
            </a:r>
          </a:p>
        </p:txBody>
      </p:sp>
      <p:sp>
        <p:nvSpPr>
          <p:cNvPr id="5" name="Marcador de texto 4"/>
          <p:cNvSpPr>
            <a:spLocks noGrp="1"/>
          </p:cNvSpPr>
          <p:nvPr>
            <p:ph type="body" idx="15"/>
          </p:nvPr>
        </p:nvSpPr>
        <p:spPr/>
        <p:txBody>
          <a:bodyPr anchor="t"/>
          <a:lstStyle/>
          <a:p>
            <a:r>
              <a:rPr lang="es-CO" dirty="0"/>
              <a:t>Complejo Cenagoso</a:t>
            </a:r>
          </a:p>
        </p:txBody>
      </p:sp>
      <p:sp>
        <p:nvSpPr>
          <p:cNvPr id="6" name="Marcador de número de diapositiva 5"/>
          <p:cNvSpPr>
            <a:spLocks noGrp="1"/>
          </p:cNvSpPr>
          <p:nvPr>
            <p:ph type="sldNum" sz="quarter" idx="19"/>
          </p:nvPr>
        </p:nvSpPr>
        <p:spPr/>
        <p:txBody>
          <a:bodyPr/>
          <a:lstStyle/>
          <a:p>
            <a:fld id="{E342E011-D739-4258-81A8-D148B475F0B5}" type="slidenum">
              <a:rPr lang="es-CO" smtClean="0"/>
              <a:pPr/>
              <a:t>12</a:t>
            </a:fld>
            <a:endParaRPr lang="es-CO" dirty="0"/>
          </a:p>
        </p:txBody>
      </p:sp>
      <p:grpSp>
        <p:nvGrpSpPr>
          <p:cNvPr id="24" name="Grupo 23"/>
          <p:cNvGrpSpPr/>
          <p:nvPr/>
        </p:nvGrpSpPr>
        <p:grpSpPr>
          <a:xfrm>
            <a:off x="2040838" y="1425284"/>
            <a:ext cx="5579162" cy="5095964"/>
            <a:chOff x="2040838" y="1216055"/>
            <a:chExt cx="5579162" cy="5095964"/>
          </a:xfrm>
        </p:grpSpPr>
        <p:pic>
          <p:nvPicPr>
            <p:cNvPr id="25" name="Picture 2" descr="fe237db0-dbd5-4360-a44d-08016f9665e2@namprd04"/>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395" b="31672"/>
            <a:stretch/>
          </p:blipFill>
          <p:spPr bwMode="auto">
            <a:xfrm>
              <a:off x="2040838" y="1325105"/>
              <a:ext cx="5579162" cy="4986914"/>
            </a:xfrm>
            <a:prstGeom prst="rect">
              <a:avLst/>
            </a:prstGeom>
            <a:noFill/>
            <a:ln w="9525">
              <a:solidFill>
                <a:srgbClr val="000000"/>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6" name="Triángulo isósceles 25"/>
            <p:cNvSpPr/>
            <p:nvPr/>
          </p:nvSpPr>
          <p:spPr>
            <a:xfrm>
              <a:off x="3797587" y="4798862"/>
              <a:ext cx="1751934" cy="1304232"/>
            </a:xfrm>
            <a:prstGeom prst="triangle">
              <a:avLst/>
            </a:prstGeom>
            <a:solidFill>
              <a:srgbClr val="5B9BD5">
                <a:alpha val="30000"/>
              </a:srgbClr>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28" name="CuadroTexto 27"/>
            <p:cNvSpPr txBox="1"/>
            <p:nvPr/>
          </p:nvSpPr>
          <p:spPr>
            <a:xfrm>
              <a:off x="3846746" y="4383493"/>
              <a:ext cx="511679" cy="246221"/>
            </a:xfrm>
            <a:prstGeom prst="rect">
              <a:avLst/>
            </a:prstGeom>
            <a:noFill/>
          </p:spPr>
          <p:txBody>
            <a:bodyPr wrap="none" rtlCol="0">
              <a:spAutoFit/>
            </a:bodyPr>
            <a:lstStyle/>
            <a:p>
              <a:r>
                <a:rPr lang="es-CO" sz="1000" b="1" dirty="0">
                  <a:latin typeface="Trebuchet MS" panose="020B0603020202020204" pitchFamily="34" charset="0"/>
                </a:rPr>
                <a:t>Presa</a:t>
              </a:r>
            </a:p>
          </p:txBody>
        </p:sp>
        <p:sp>
          <p:nvSpPr>
            <p:cNvPr id="29" name="CuadroTexto 28"/>
            <p:cNvSpPr txBox="1"/>
            <p:nvPr/>
          </p:nvSpPr>
          <p:spPr>
            <a:xfrm>
              <a:off x="5505676" y="2817976"/>
              <a:ext cx="1154483" cy="584775"/>
            </a:xfrm>
            <a:prstGeom prst="rect">
              <a:avLst/>
            </a:prstGeom>
            <a:noFill/>
          </p:spPr>
          <p:txBody>
            <a:bodyPr wrap="none" rtlCol="0">
              <a:spAutoFit/>
            </a:bodyPr>
            <a:lstStyle/>
            <a:p>
              <a:pPr algn="ctr"/>
              <a:r>
                <a:rPr lang="es-CO" sz="1600" b="1" dirty="0">
                  <a:solidFill>
                    <a:srgbClr val="C00000"/>
                  </a:solidFill>
                  <a:latin typeface="Trebuchet MS" panose="020B0603020202020204" pitchFamily="34" charset="0"/>
                </a:rPr>
                <a:t>Complejo </a:t>
              </a:r>
            </a:p>
            <a:p>
              <a:pPr algn="ctr"/>
              <a:r>
                <a:rPr lang="es-CO" sz="1600" b="1" dirty="0">
                  <a:solidFill>
                    <a:srgbClr val="C00000"/>
                  </a:solidFill>
                  <a:latin typeface="Trebuchet MS" panose="020B0603020202020204" pitchFamily="34" charset="0"/>
                </a:rPr>
                <a:t>Cenagoso</a:t>
              </a:r>
            </a:p>
          </p:txBody>
        </p:sp>
        <p:sp>
          <p:nvSpPr>
            <p:cNvPr id="30" name="CuadroTexto 29"/>
            <p:cNvSpPr txBox="1"/>
            <p:nvPr/>
          </p:nvSpPr>
          <p:spPr>
            <a:xfrm>
              <a:off x="3265861" y="5070615"/>
              <a:ext cx="702436" cy="253916"/>
            </a:xfrm>
            <a:prstGeom prst="rect">
              <a:avLst/>
            </a:prstGeom>
            <a:noFill/>
          </p:spPr>
          <p:txBody>
            <a:bodyPr wrap="none" rtlCol="0">
              <a:spAutoFit/>
            </a:bodyPr>
            <a:lstStyle/>
            <a:p>
              <a:r>
                <a:rPr lang="es-CO" sz="1050" b="1" dirty="0">
                  <a:latin typeface="Trebuchet MS" panose="020B0603020202020204" pitchFamily="34" charset="0"/>
                </a:rPr>
                <a:t>Embalse</a:t>
              </a:r>
            </a:p>
          </p:txBody>
        </p:sp>
        <p:sp>
          <p:nvSpPr>
            <p:cNvPr id="31" name="Forma libre 30"/>
            <p:cNvSpPr/>
            <p:nvPr/>
          </p:nvSpPr>
          <p:spPr>
            <a:xfrm>
              <a:off x="3910284" y="5218185"/>
              <a:ext cx="329114" cy="393048"/>
            </a:xfrm>
            <a:custGeom>
              <a:avLst/>
              <a:gdLst>
                <a:gd name="connsiteX0" fmla="*/ 601980 w 601980"/>
                <a:gd name="connsiteY0" fmla="*/ 708660 h 708660"/>
                <a:gd name="connsiteX1" fmla="*/ 259080 w 601980"/>
                <a:gd name="connsiteY1" fmla="*/ 0 h 708660"/>
                <a:gd name="connsiteX2" fmla="*/ 0 w 601980"/>
                <a:gd name="connsiteY2" fmla="*/ 0 h 708660"/>
              </a:gdLst>
              <a:ahLst/>
              <a:cxnLst>
                <a:cxn ang="0">
                  <a:pos x="connsiteX0" y="connsiteY0"/>
                </a:cxn>
                <a:cxn ang="0">
                  <a:pos x="connsiteX1" y="connsiteY1"/>
                </a:cxn>
                <a:cxn ang="0">
                  <a:pos x="connsiteX2" y="connsiteY2"/>
                </a:cxn>
              </a:cxnLst>
              <a:rect l="l" t="t" r="r" b="b"/>
              <a:pathLst>
                <a:path w="601980" h="708660">
                  <a:moveTo>
                    <a:pt x="601980" y="708660"/>
                  </a:moveTo>
                  <a:lnTo>
                    <a:pt x="259080" y="0"/>
                  </a:lnTo>
                  <a:lnTo>
                    <a:pt x="0" y="0"/>
                  </a:lnTo>
                </a:path>
              </a:pathLst>
            </a:custGeom>
            <a:noFill/>
            <a:ln>
              <a:solidFill>
                <a:schemeClr val="tx1"/>
              </a:solidFill>
              <a:headEnd type="stealth"/>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2" name="Forma libre 31"/>
            <p:cNvSpPr/>
            <p:nvPr/>
          </p:nvSpPr>
          <p:spPr>
            <a:xfrm>
              <a:off x="4309266" y="4517033"/>
              <a:ext cx="557338" cy="708660"/>
            </a:xfrm>
            <a:custGeom>
              <a:avLst/>
              <a:gdLst>
                <a:gd name="connsiteX0" fmla="*/ 601980 w 601980"/>
                <a:gd name="connsiteY0" fmla="*/ 708660 h 708660"/>
                <a:gd name="connsiteX1" fmla="*/ 259080 w 601980"/>
                <a:gd name="connsiteY1" fmla="*/ 0 h 708660"/>
                <a:gd name="connsiteX2" fmla="*/ 0 w 601980"/>
                <a:gd name="connsiteY2" fmla="*/ 0 h 708660"/>
              </a:gdLst>
              <a:ahLst/>
              <a:cxnLst>
                <a:cxn ang="0">
                  <a:pos x="connsiteX0" y="connsiteY0"/>
                </a:cxn>
                <a:cxn ang="0">
                  <a:pos x="connsiteX1" y="connsiteY1"/>
                </a:cxn>
                <a:cxn ang="0">
                  <a:pos x="connsiteX2" y="connsiteY2"/>
                </a:cxn>
              </a:cxnLst>
              <a:rect l="l" t="t" r="r" b="b"/>
              <a:pathLst>
                <a:path w="601980" h="708660">
                  <a:moveTo>
                    <a:pt x="601980" y="708660"/>
                  </a:moveTo>
                  <a:lnTo>
                    <a:pt x="259080" y="0"/>
                  </a:lnTo>
                  <a:lnTo>
                    <a:pt x="0" y="0"/>
                  </a:lnTo>
                </a:path>
              </a:pathLst>
            </a:custGeom>
            <a:noFill/>
            <a:ln>
              <a:solidFill>
                <a:schemeClr val="tx1"/>
              </a:solidFill>
              <a:headEnd type="stealth"/>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3" name="Triángulo isósceles 32"/>
            <p:cNvSpPr/>
            <p:nvPr/>
          </p:nvSpPr>
          <p:spPr>
            <a:xfrm rot="3200561">
              <a:off x="4805342" y="5172362"/>
              <a:ext cx="178010" cy="145754"/>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4" name="CuadroTexto 33"/>
            <p:cNvSpPr txBox="1"/>
            <p:nvPr/>
          </p:nvSpPr>
          <p:spPr>
            <a:xfrm>
              <a:off x="4239398" y="5456762"/>
              <a:ext cx="1091966" cy="646331"/>
            </a:xfrm>
            <a:prstGeom prst="rect">
              <a:avLst/>
            </a:prstGeom>
            <a:noFill/>
          </p:spPr>
          <p:txBody>
            <a:bodyPr wrap="none" rtlCol="0">
              <a:spAutoFit/>
            </a:bodyPr>
            <a:lstStyle/>
            <a:p>
              <a:pPr algn="ctr"/>
              <a:r>
                <a:rPr lang="es-CO" sz="1200" b="1" dirty="0">
                  <a:solidFill>
                    <a:srgbClr val="C00000"/>
                  </a:solidFill>
                  <a:latin typeface="Trebuchet MS" panose="020B0603020202020204" pitchFamily="34" charset="0"/>
                </a:rPr>
                <a:t>Zona de</a:t>
              </a:r>
            </a:p>
            <a:p>
              <a:pPr algn="ctr"/>
              <a:r>
                <a:rPr lang="es-CO" sz="1200" b="1" dirty="0">
                  <a:solidFill>
                    <a:srgbClr val="C00000"/>
                  </a:solidFill>
                  <a:latin typeface="Trebuchet MS" panose="020B0603020202020204" pitchFamily="34" charset="0"/>
                </a:rPr>
                <a:t>Influencia </a:t>
              </a:r>
            </a:p>
            <a:p>
              <a:pPr algn="ctr"/>
              <a:r>
                <a:rPr lang="es-CO" sz="1200" b="1" dirty="0">
                  <a:solidFill>
                    <a:srgbClr val="C00000"/>
                  </a:solidFill>
                  <a:latin typeface="Trebuchet MS" panose="020B0603020202020204" pitchFamily="34" charset="0"/>
                </a:rPr>
                <a:t>del Proyecto</a:t>
              </a:r>
            </a:p>
          </p:txBody>
        </p:sp>
        <p:sp>
          <p:nvSpPr>
            <p:cNvPr id="35" name="Elipse 34"/>
            <p:cNvSpPr/>
            <p:nvPr/>
          </p:nvSpPr>
          <p:spPr>
            <a:xfrm rot="2519375">
              <a:off x="5421152" y="1216055"/>
              <a:ext cx="2007358" cy="2613979"/>
            </a:xfrm>
            <a:prstGeom prst="ellipse">
              <a:avLst/>
            </a:prstGeom>
            <a:noFill/>
            <a:ln w="28575">
              <a:solidFill>
                <a:srgbClr val="C00000"/>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s-CO"/>
            </a:p>
          </p:txBody>
        </p:sp>
      </p:grpSp>
      <p:sp>
        <p:nvSpPr>
          <p:cNvPr id="18" name="Marcador de texto 2"/>
          <p:cNvSpPr>
            <a:spLocks noGrp="1"/>
          </p:cNvSpPr>
          <p:nvPr>
            <p:ph type="body" idx="14"/>
          </p:nvPr>
        </p:nvSpPr>
        <p:spPr/>
        <p:txBody>
          <a:bodyPr/>
          <a:lstStyle/>
          <a:p>
            <a:r>
              <a:rPr lang="es-CO" dirty="0"/>
              <a:t>2.1 </a:t>
            </a:r>
            <a:r>
              <a:rPr lang="es-CO" dirty="0">
                <a:effectLst>
                  <a:outerShdw blurRad="38100" dist="38100" dir="2700000" algn="tl">
                    <a:srgbClr val="000000">
                      <a:alpha val="43137"/>
                    </a:srgbClr>
                  </a:outerShdw>
                </a:effectLst>
              </a:rPr>
              <a:t>Origen de la Regla de Operación</a:t>
            </a:r>
            <a:endParaRPr lang="es-CO" dirty="0"/>
          </a:p>
        </p:txBody>
      </p:sp>
    </p:spTree>
    <p:extLst>
      <p:ext uri="{BB962C8B-B14F-4D97-AF65-F5344CB8AC3E}">
        <p14:creationId xmlns:p14="http://schemas.microsoft.com/office/powerpoint/2010/main" val="5160020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idx="13"/>
          </p:nvPr>
        </p:nvSpPr>
        <p:spPr/>
        <p:txBody>
          <a:bodyPr/>
          <a:lstStyle/>
          <a:p>
            <a:r>
              <a:rPr lang="es-CO" dirty="0"/>
              <a:t>Proyecto Hidroeléctrico Ituango</a:t>
            </a:r>
          </a:p>
        </p:txBody>
      </p:sp>
      <p:sp>
        <p:nvSpPr>
          <p:cNvPr id="3" name="Marcador de texto 2"/>
          <p:cNvSpPr>
            <a:spLocks noGrp="1"/>
          </p:cNvSpPr>
          <p:nvPr>
            <p:ph type="body" idx="14"/>
          </p:nvPr>
        </p:nvSpPr>
        <p:spPr>
          <a:xfrm>
            <a:off x="466725" y="608502"/>
            <a:ext cx="8086432" cy="432048"/>
          </a:xfrm>
        </p:spPr>
        <p:txBody>
          <a:bodyPr/>
          <a:lstStyle/>
          <a:p>
            <a:r>
              <a:rPr lang="es-CO" dirty="0"/>
              <a:t>2.1 </a:t>
            </a:r>
            <a:r>
              <a:rPr lang="es-CO" dirty="0">
                <a:effectLst>
                  <a:outerShdw blurRad="38100" dist="38100" dir="2700000" algn="tl">
                    <a:srgbClr val="000000">
                      <a:alpha val="43137"/>
                    </a:srgbClr>
                  </a:outerShdw>
                </a:effectLst>
              </a:rPr>
              <a:t>Origen de la Regla de Operación</a:t>
            </a:r>
            <a:endParaRPr lang="es-CO" dirty="0"/>
          </a:p>
        </p:txBody>
      </p:sp>
      <p:sp>
        <p:nvSpPr>
          <p:cNvPr id="4" name="Marcador de texto 3"/>
          <p:cNvSpPr>
            <a:spLocks noGrp="1"/>
          </p:cNvSpPr>
          <p:nvPr>
            <p:ph type="body" sz="quarter" idx="19"/>
          </p:nvPr>
        </p:nvSpPr>
        <p:spPr/>
        <p:txBody>
          <a:bodyPr/>
          <a:lstStyle/>
          <a:p>
            <a:pPr>
              <a:lnSpc>
                <a:spcPts val="3200"/>
              </a:lnSpc>
              <a:spcBef>
                <a:spcPts val="0"/>
              </a:spcBef>
              <a:spcAft>
                <a:spcPts val="1200"/>
              </a:spcAft>
            </a:pPr>
            <a:r>
              <a:rPr lang="es-ES" sz="1700" dirty="0">
                <a:solidFill>
                  <a:schemeClr val="tx1">
                    <a:lumMod val="90000"/>
                    <a:lumOff val="10000"/>
                  </a:schemeClr>
                </a:solidFill>
              </a:rPr>
              <a:t>La Resolución ANLA 1891/2009 establece la regla de operación con el fin de evitar variaciones abruptas de niveles y caudales aguas abajo del proyecto para:</a:t>
            </a:r>
          </a:p>
          <a:p>
            <a:pPr marL="285750" indent="-285750">
              <a:lnSpc>
                <a:spcPts val="3200"/>
              </a:lnSpc>
              <a:spcBef>
                <a:spcPts val="0"/>
              </a:spcBef>
              <a:spcAft>
                <a:spcPts val="1200"/>
              </a:spcAft>
              <a:buFont typeface="Wingdings" panose="05000000000000000000" pitchFamily="2" charset="2"/>
              <a:buChar char="§"/>
            </a:pPr>
            <a:r>
              <a:rPr lang="es-ES" sz="1700" dirty="0">
                <a:solidFill>
                  <a:schemeClr val="tx1">
                    <a:lumMod val="90000"/>
                    <a:lumOff val="10000"/>
                  </a:schemeClr>
                </a:solidFill>
              </a:rPr>
              <a:t>Evitar la afectación de los recursos hidrobiológicos asociados al río Cauca y permitir el intercambio de aguas entre el río y los complejos cenagosos localizados aguas abajo del sitio de presa. Hay 9 complejos cenagosos que abarcan más de 1000 Hectáreas (hasta </a:t>
            </a:r>
            <a:r>
              <a:rPr lang="es-ES" sz="1700" dirty="0" err="1">
                <a:solidFill>
                  <a:schemeClr val="tx1">
                    <a:lumMod val="90000"/>
                    <a:lumOff val="10000"/>
                  </a:schemeClr>
                </a:solidFill>
              </a:rPr>
              <a:t>Nechi</a:t>
            </a:r>
            <a:r>
              <a:rPr lang="es-ES" sz="1700" dirty="0">
                <a:solidFill>
                  <a:schemeClr val="tx1">
                    <a:lumMod val="90000"/>
                    <a:lumOff val="10000"/>
                  </a:schemeClr>
                </a:solidFill>
              </a:rPr>
              <a:t>).</a:t>
            </a:r>
          </a:p>
          <a:p>
            <a:pPr marL="285750" indent="-285750">
              <a:lnSpc>
                <a:spcPts val="3200"/>
              </a:lnSpc>
              <a:spcBef>
                <a:spcPts val="0"/>
              </a:spcBef>
              <a:buFont typeface="Wingdings" panose="05000000000000000000" pitchFamily="2" charset="2"/>
              <a:buChar char="§"/>
            </a:pPr>
            <a:r>
              <a:rPr lang="es-ES" sz="1700" dirty="0">
                <a:solidFill>
                  <a:schemeClr val="tx1">
                    <a:lumMod val="90000"/>
                    <a:lumOff val="10000"/>
                  </a:schemeClr>
                </a:solidFill>
              </a:rPr>
              <a:t>Garantizar la migración de las especies reófilas (especies que realizan subienda para garantizar su proceso reproductivo). 120 especies de peces, 20 de peces con comportamiento migratorio (Bocachico, Bagre, Dorada entre otros).</a:t>
            </a:r>
          </a:p>
        </p:txBody>
      </p:sp>
      <p:sp>
        <p:nvSpPr>
          <p:cNvPr id="5" name="Marcador de texto 4"/>
          <p:cNvSpPr>
            <a:spLocks noGrp="1"/>
          </p:cNvSpPr>
          <p:nvPr>
            <p:ph type="body" idx="15"/>
          </p:nvPr>
        </p:nvSpPr>
        <p:spPr/>
        <p:txBody>
          <a:bodyPr/>
          <a:lstStyle/>
          <a:p>
            <a:r>
              <a:rPr lang="es-CO" dirty="0"/>
              <a:t>Objetivo</a:t>
            </a:r>
          </a:p>
        </p:txBody>
      </p:sp>
      <p:sp>
        <p:nvSpPr>
          <p:cNvPr id="6" name="Marcador de número de diapositiva 5"/>
          <p:cNvSpPr>
            <a:spLocks noGrp="1"/>
          </p:cNvSpPr>
          <p:nvPr>
            <p:ph type="sldNum" sz="quarter" idx="20"/>
          </p:nvPr>
        </p:nvSpPr>
        <p:spPr/>
        <p:txBody>
          <a:bodyPr/>
          <a:lstStyle/>
          <a:p>
            <a:fld id="{E342E011-D739-4258-81A8-D148B475F0B5}" type="slidenum">
              <a:rPr lang="es-CO" smtClean="0"/>
              <a:pPr/>
              <a:t>13</a:t>
            </a:fld>
            <a:endParaRPr lang="es-CO" dirty="0"/>
          </a:p>
        </p:txBody>
      </p:sp>
    </p:spTree>
    <p:extLst>
      <p:ext uri="{BB962C8B-B14F-4D97-AF65-F5344CB8AC3E}">
        <p14:creationId xmlns:p14="http://schemas.microsoft.com/office/powerpoint/2010/main" val="7266190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idx="13"/>
          </p:nvPr>
        </p:nvSpPr>
        <p:spPr/>
        <p:txBody>
          <a:bodyPr/>
          <a:lstStyle/>
          <a:p>
            <a:r>
              <a:rPr lang="es-CO" dirty="0"/>
              <a:t>Proyecto Hidroeléctrico Ituango</a:t>
            </a:r>
          </a:p>
        </p:txBody>
      </p:sp>
      <p:sp>
        <p:nvSpPr>
          <p:cNvPr id="3" name="Marcador de texto 2"/>
          <p:cNvSpPr>
            <a:spLocks noGrp="1"/>
          </p:cNvSpPr>
          <p:nvPr>
            <p:ph type="body" idx="14"/>
          </p:nvPr>
        </p:nvSpPr>
        <p:spPr>
          <a:xfrm>
            <a:off x="466724" y="608502"/>
            <a:ext cx="7921275" cy="432048"/>
          </a:xfrm>
        </p:spPr>
        <p:txBody>
          <a:bodyPr/>
          <a:lstStyle/>
          <a:p>
            <a:r>
              <a:rPr lang="es-CO" dirty="0"/>
              <a:t>2.1 </a:t>
            </a:r>
            <a:r>
              <a:rPr lang="es-CO" dirty="0">
                <a:effectLst>
                  <a:outerShdw blurRad="38100" dist="38100" dir="2700000" algn="tl">
                    <a:srgbClr val="000000">
                      <a:alpha val="43137"/>
                    </a:srgbClr>
                  </a:outerShdw>
                </a:effectLst>
              </a:rPr>
              <a:t>Origen de la Regla de Operación</a:t>
            </a:r>
            <a:endParaRPr lang="es-CO" dirty="0"/>
          </a:p>
        </p:txBody>
      </p:sp>
      <p:sp>
        <p:nvSpPr>
          <p:cNvPr id="4" name="Marcador de texto 3"/>
          <p:cNvSpPr>
            <a:spLocks noGrp="1"/>
          </p:cNvSpPr>
          <p:nvPr>
            <p:ph type="body" sz="quarter" idx="19"/>
          </p:nvPr>
        </p:nvSpPr>
        <p:spPr/>
        <p:txBody>
          <a:bodyPr/>
          <a:lstStyle/>
          <a:p>
            <a:pPr marL="285750" indent="-285750">
              <a:lnSpc>
                <a:spcPts val="2500"/>
              </a:lnSpc>
              <a:spcBef>
                <a:spcPts val="0"/>
              </a:spcBef>
              <a:spcAft>
                <a:spcPts val="1200"/>
              </a:spcAft>
              <a:buFont typeface="Wingdings" panose="05000000000000000000" pitchFamily="2" charset="2"/>
              <a:buChar char="§"/>
            </a:pPr>
            <a:r>
              <a:rPr lang="es-ES" sz="1700" dirty="0">
                <a:solidFill>
                  <a:schemeClr val="tx1">
                    <a:lumMod val="90000"/>
                    <a:lumOff val="10000"/>
                  </a:schemeClr>
                </a:solidFill>
              </a:rPr>
              <a:t>Emular los caudales naturales del río, permitiendo el desarrollo normal de actividades económicas aguas abajo de presa como: pesca, minería y navegabilidad. La navegación fluvial, fundamentalmente en la zona del río aledaña a Puerto Valdivia, principalmente por la poca profundidad y el afloramiento de rocas en el cauce cuando los caudales son bajos.</a:t>
            </a:r>
          </a:p>
          <a:p>
            <a:pPr marL="285750" indent="-285750">
              <a:lnSpc>
                <a:spcPts val="2500"/>
              </a:lnSpc>
              <a:spcBef>
                <a:spcPts val="0"/>
              </a:spcBef>
              <a:spcAft>
                <a:spcPts val="1200"/>
              </a:spcAft>
              <a:buFont typeface="Wingdings" panose="05000000000000000000" pitchFamily="2" charset="2"/>
              <a:buChar char="§"/>
            </a:pPr>
            <a:r>
              <a:rPr lang="es-ES" sz="1700" dirty="0">
                <a:solidFill>
                  <a:schemeClr val="tx1">
                    <a:lumMod val="90000"/>
                    <a:lumOff val="10000"/>
                  </a:schemeClr>
                </a:solidFill>
              </a:rPr>
              <a:t>Evitar la afectación a la población de pescadores, cooperativas artesanales, infraestructura asociada a la pesca y población que depende de ella como medio de sustento, debido a la pérdida de la productividad,</a:t>
            </a:r>
          </a:p>
          <a:p>
            <a:pPr marL="285750" indent="-285750">
              <a:lnSpc>
                <a:spcPts val="2500"/>
              </a:lnSpc>
              <a:spcBef>
                <a:spcPts val="0"/>
              </a:spcBef>
              <a:spcAft>
                <a:spcPts val="1200"/>
              </a:spcAft>
              <a:buFont typeface="Wingdings" panose="05000000000000000000" pitchFamily="2" charset="2"/>
              <a:buChar char="§"/>
            </a:pPr>
            <a:r>
              <a:rPr lang="es-ES" sz="1700" dirty="0">
                <a:solidFill>
                  <a:schemeClr val="tx1">
                    <a:lumMod val="90000"/>
                    <a:lumOff val="10000"/>
                  </a:schemeClr>
                </a:solidFill>
              </a:rPr>
              <a:t>Evitar la muerte y desplazamiento de especies faunísticas,</a:t>
            </a:r>
          </a:p>
          <a:p>
            <a:pPr marL="285750" indent="-285750">
              <a:lnSpc>
                <a:spcPts val="2500"/>
              </a:lnSpc>
              <a:spcBef>
                <a:spcPts val="0"/>
              </a:spcBef>
              <a:spcAft>
                <a:spcPts val="1200"/>
              </a:spcAft>
              <a:buFont typeface="Wingdings" panose="05000000000000000000" pitchFamily="2" charset="2"/>
              <a:buChar char="§"/>
            </a:pPr>
            <a:r>
              <a:rPr lang="es-ES" sz="1700" dirty="0">
                <a:solidFill>
                  <a:schemeClr val="tx1">
                    <a:lumMod val="90000"/>
                    <a:lumOff val="10000"/>
                  </a:schemeClr>
                </a:solidFill>
              </a:rPr>
              <a:t>Evitar la producción de “buchas” como resultado de la operación, lo que puede afectar de las actividades mineras y la posible pérdida de vidas humanas.</a:t>
            </a:r>
          </a:p>
        </p:txBody>
      </p:sp>
      <p:sp>
        <p:nvSpPr>
          <p:cNvPr id="5" name="Marcador de texto 4"/>
          <p:cNvSpPr>
            <a:spLocks noGrp="1"/>
          </p:cNvSpPr>
          <p:nvPr>
            <p:ph type="body" idx="15"/>
          </p:nvPr>
        </p:nvSpPr>
        <p:spPr/>
        <p:txBody>
          <a:bodyPr/>
          <a:lstStyle/>
          <a:p>
            <a:r>
              <a:rPr lang="es-CO" dirty="0"/>
              <a:t>Objetivo</a:t>
            </a:r>
          </a:p>
        </p:txBody>
      </p:sp>
      <p:sp>
        <p:nvSpPr>
          <p:cNvPr id="6" name="Marcador de número de diapositiva 5"/>
          <p:cNvSpPr>
            <a:spLocks noGrp="1"/>
          </p:cNvSpPr>
          <p:nvPr>
            <p:ph type="sldNum" sz="quarter" idx="20"/>
          </p:nvPr>
        </p:nvSpPr>
        <p:spPr/>
        <p:txBody>
          <a:bodyPr/>
          <a:lstStyle/>
          <a:p>
            <a:fld id="{E342E011-D739-4258-81A8-D148B475F0B5}" type="slidenum">
              <a:rPr lang="es-CO" smtClean="0"/>
              <a:pPr/>
              <a:t>14</a:t>
            </a:fld>
            <a:endParaRPr lang="es-CO" dirty="0"/>
          </a:p>
        </p:txBody>
      </p:sp>
    </p:spTree>
    <p:extLst>
      <p:ext uri="{BB962C8B-B14F-4D97-AF65-F5344CB8AC3E}">
        <p14:creationId xmlns:p14="http://schemas.microsoft.com/office/powerpoint/2010/main" val="28627080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57200" y="3075057"/>
            <a:ext cx="7962900" cy="707886"/>
          </a:xfrm>
        </p:spPr>
        <p:txBody>
          <a:bodyPr/>
          <a:lstStyle/>
          <a:p>
            <a:r>
              <a:rPr lang="es-CO" dirty="0">
                <a:effectLst>
                  <a:outerShdw blurRad="38100" dist="38100" dir="2700000" algn="tl">
                    <a:srgbClr val="000000">
                      <a:alpha val="43137"/>
                    </a:srgbClr>
                  </a:outerShdw>
                </a:effectLst>
              </a:rPr>
              <a:t>2.2 Licencia Ambiental y PMA</a:t>
            </a:r>
          </a:p>
        </p:txBody>
      </p:sp>
    </p:spTree>
    <p:extLst>
      <p:ext uri="{BB962C8B-B14F-4D97-AF65-F5344CB8AC3E}">
        <p14:creationId xmlns:p14="http://schemas.microsoft.com/office/powerpoint/2010/main" val="26573136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Marcador de texto"/>
          <p:cNvSpPr>
            <a:spLocks noGrp="1"/>
          </p:cNvSpPr>
          <p:nvPr>
            <p:ph type="body" idx="13"/>
          </p:nvPr>
        </p:nvSpPr>
        <p:spPr/>
        <p:txBody>
          <a:bodyPr/>
          <a:lstStyle/>
          <a:p>
            <a:r>
              <a:rPr lang="es-CO" dirty="0"/>
              <a:t>Proyecto Hidroeléctrico Ituango</a:t>
            </a:r>
          </a:p>
        </p:txBody>
      </p:sp>
      <p:sp>
        <p:nvSpPr>
          <p:cNvPr id="7" name="6 Marcador de texto"/>
          <p:cNvSpPr>
            <a:spLocks noGrp="1"/>
          </p:cNvSpPr>
          <p:nvPr>
            <p:ph type="body" idx="14"/>
          </p:nvPr>
        </p:nvSpPr>
        <p:spPr/>
        <p:txBody>
          <a:bodyPr/>
          <a:lstStyle/>
          <a:p>
            <a:r>
              <a:rPr lang="es-CO" dirty="0"/>
              <a:t>2.2 Licencia Ambiental y PMA</a:t>
            </a:r>
          </a:p>
        </p:txBody>
      </p:sp>
      <p:sp>
        <p:nvSpPr>
          <p:cNvPr id="8" name="7 Marcador de texto"/>
          <p:cNvSpPr>
            <a:spLocks noGrp="1"/>
          </p:cNvSpPr>
          <p:nvPr>
            <p:ph type="body" idx="15"/>
          </p:nvPr>
        </p:nvSpPr>
        <p:spPr/>
        <p:txBody>
          <a:bodyPr/>
          <a:lstStyle/>
          <a:p>
            <a:r>
              <a:rPr lang="es-CO" dirty="0"/>
              <a:t>La Licencia Ambiental</a:t>
            </a:r>
          </a:p>
        </p:txBody>
      </p:sp>
      <p:sp>
        <p:nvSpPr>
          <p:cNvPr id="3" name="2 Marcador de número de diapositiva"/>
          <p:cNvSpPr>
            <a:spLocks noGrp="1"/>
          </p:cNvSpPr>
          <p:nvPr>
            <p:ph type="sldNum" sz="quarter" idx="20"/>
          </p:nvPr>
        </p:nvSpPr>
        <p:spPr/>
        <p:txBody>
          <a:bodyPr/>
          <a:lstStyle/>
          <a:p>
            <a:fld id="{E342E011-D739-4258-81A8-D148B475F0B5}" type="slidenum">
              <a:rPr lang="es-CO" smtClean="0"/>
              <a:pPr/>
              <a:t>16</a:t>
            </a:fld>
            <a:endParaRPr lang="es-CO" dirty="0"/>
          </a:p>
        </p:txBody>
      </p:sp>
      <p:pic>
        <p:nvPicPr>
          <p:cNvPr id="10" name="Picture 2"/>
          <p:cNvPicPr>
            <a:picLocks noChangeAspect="1" noChangeArrowheads="1"/>
          </p:cNvPicPr>
          <p:nvPr/>
        </p:nvPicPr>
        <p:blipFill rotWithShape="1">
          <a:blip r:embed="rId2" cstate="screen">
            <a:extLst>
              <a:ext uri="{BEBA8EAE-BF5A-486C-A8C5-ECC9F3942E4B}">
                <a14:imgProps xmlns:a14="http://schemas.microsoft.com/office/drawing/2010/main">
                  <a14:imgLayer r:embed="rId3">
                    <a14:imgEffect>
                      <a14:sharpenSoften amount="50000"/>
                    </a14:imgEffect>
                    <a14:imgEffect>
                      <a14:brightnessContrast contrast="-40000"/>
                    </a14:imgEffect>
                  </a14:imgLayer>
                </a14:imgProps>
              </a:ext>
              <a:ext uri="{28A0092B-C50C-407E-A947-70E740481C1C}">
                <a14:useLocalDpi xmlns:a14="http://schemas.microsoft.com/office/drawing/2010/main"/>
              </a:ext>
            </a:extLst>
          </a:blip>
          <a:srcRect b="13542"/>
          <a:stretch/>
        </p:blipFill>
        <p:spPr bwMode="auto">
          <a:xfrm>
            <a:off x="592552" y="1702634"/>
            <a:ext cx="3736520" cy="1072972"/>
          </a:xfrm>
          <a:prstGeom prst="rect">
            <a:avLst/>
          </a:prstGeom>
          <a:noFill/>
          <a:ln w="9525">
            <a:noFill/>
            <a:miter lim="800000"/>
            <a:headEnd/>
            <a:tailEnd/>
          </a:ln>
        </p:spPr>
      </p:pic>
      <p:pic>
        <p:nvPicPr>
          <p:cNvPr id="11" name="Picture 3"/>
          <p:cNvPicPr>
            <a:picLocks noChangeAspect="1" noChangeArrowheads="1"/>
          </p:cNvPicPr>
          <p:nvPr/>
        </p:nvPicPr>
        <p:blipFill>
          <a:blip r:embed="rId4" cstate="screen">
            <a:graysc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467704" y="2550113"/>
            <a:ext cx="3986216" cy="880464"/>
          </a:xfrm>
          <a:prstGeom prst="rect">
            <a:avLst/>
          </a:prstGeom>
          <a:noFill/>
          <a:ln w="9525">
            <a:noFill/>
            <a:miter lim="800000"/>
            <a:headEnd/>
            <a:tailEnd/>
          </a:ln>
        </p:spPr>
      </p:pic>
      <p:pic>
        <p:nvPicPr>
          <p:cNvPr id="12" name="Picture 5"/>
          <p:cNvPicPr>
            <a:picLocks noChangeAspect="1" noChangeArrowheads="1"/>
          </p:cNvPicPr>
          <p:nvPr/>
        </p:nvPicPr>
        <p:blipFill>
          <a:blip r:embed="rId6" cstate="print">
            <a:clrChange>
              <a:clrFrom>
                <a:srgbClr val="FEFEFE"/>
              </a:clrFrom>
              <a:clrTo>
                <a:srgbClr val="FEFEFE">
                  <a:alpha val="0"/>
                </a:srgbClr>
              </a:clrTo>
            </a:clrChange>
            <a:duotone>
              <a:schemeClr val="accent6">
                <a:shade val="45000"/>
                <a:satMod val="135000"/>
              </a:schemeClr>
              <a:prstClr val="white"/>
            </a:duotone>
            <a:extLst>
              <a:ext uri="{BEBA8EAE-BF5A-486C-A8C5-ECC9F3942E4B}">
                <a14:imgProps xmlns:a14="http://schemas.microsoft.com/office/drawing/2010/main">
                  <a14:imgLayer r:embed="rId7">
                    <a14:imgEffect>
                      <a14:sharpenSoften amount="50000"/>
                    </a14:imgEffect>
                    <a14:imgEffect>
                      <a14:brightnessContrast contrast="-40000"/>
                    </a14:imgEffect>
                  </a14:imgLayer>
                </a14:imgProps>
              </a:ext>
            </a:extLst>
          </a:blip>
          <a:srcRect/>
          <a:stretch>
            <a:fillRect/>
          </a:stretch>
        </p:blipFill>
        <p:spPr bwMode="auto">
          <a:xfrm>
            <a:off x="598332" y="3390701"/>
            <a:ext cx="3724960" cy="2597108"/>
          </a:xfrm>
          <a:prstGeom prst="rect">
            <a:avLst/>
          </a:prstGeom>
          <a:noFill/>
          <a:ln w="9525">
            <a:noFill/>
            <a:miter lim="800000"/>
            <a:headEnd/>
            <a:tailEnd/>
          </a:ln>
        </p:spPr>
      </p:pic>
      <p:pic>
        <p:nvPicPr>
          <p:cNvPr id="13" name="Picture 4"/>
          <p:cNvPicPr>
            <a:picLocks noChangeAspect="1" noChangeArrowheads="1"/>
          </p:cNvPicPr>
          <p:nvPr/>
        </p:nvPicPr>
        <p:blipFill rotWithShape="1">
          <a:blip r:embed="rId8" cstate="screen">
            <a:grayscl/>
            <a:extLst>
              <a:ext uri="{BEBA8EAE-BF5A-486C-A8C5-ECC9F3942E4B}">
                <a14:imgProps xmlns:a14="http://schemas.microsoft.com/office/drawing/2010/main">
                  <a14:imgLayer r:embed="rId9">
                    <a14:imgEffect>
                      <a14:sharpenSoften amount="50000"/>
                    </a14:imgEffect>
                  </a14:imgLayer>
                </a14:imgProps>
              </a:ext>
              <a:ext uri="{28A0092B-C50C-407E-A947-70E740481C1C}">
                <a14:useLocalDpi xmlns:a14="http://schemas.microsoft.com/office/drawing/2010/main"/>
              </a:ext>
            </a:extLst>
          </a:blip>
          <a:srcRect/>
          <a:stretch/>
        </p:blipFill>
        <p:spPr bwMode="auto">
          <a:xfrm>
            <a:off x="4981343" y="2458145"/>
            <a:ext cx="3165211" cy="2650580"/>
          </a:xfrm>
          <a:prstGeom prst="rect">
            <a:avLst/>
          </a:prstGeom>
          <a:noFill/>
          <a:ln w="9525">
            <a:noFill/>
            <a:miter lim="800000"/>
            <a:headEnd/>
            <a:tailEnd/>
          </a:ln>
        </p:spPr>
      </p:pic>
      <p:sp>
        <p:nvSpPr>
          <p:cNvPr id="14" name="CuadroTexto 13"/>
          <p:cNvSpPr txBox="1"/>
          <p:nvPr/>
        </p:nvSpPr>
        <p:spPr>
          <a:xfrm>
            <a:off x="5090371" y="5154008"/>
            <a:ext cx="2947154" cy="784830"/>
          </a:xfrm>
          <a:prstGeom prst="rect">
            <a:avLst/>
          </a:prstGeom>
        </p:spPr>
        <p:txBody>
          <a:bodyPr wrap="square" rtlCol="0">
            <a:spAutoFit/>
          </a:bodyPr>
          <a:lstStyle/>
          <a:p>
            <a:pPr algn="ctr">
              <a:spcBef>
                <a:spcPct val="0"/>
              </a:spcBef>
            </a:pPr>
            <a:r>
              <a:rPr lang="es-ES" sz="900" b="1" i="1" dirty="0">
                <a:solidFill>
                  <a:schemeClr val="tx1">
                    <a:lumMod val="90000"/>
                    <a:lumOff val="10000"/>
                  </a:schemeClr>
                </a:solidFill>
              </a:rPr>
              <a:t>Nota: </a:t>
            </a:r>
            <a:r>
              <a:rPr lang="es-ES" sz="900" i="1" dirty="0">
                <a:solidFill>
                  <a:schemeClr val="tx1">
                    <a:lumMod val="90000"/>
                    <a:lumOff val="10000"/>
                  </a:schemeClr>
                </a:solidFill>
              </a:rPr>
              <a:t>Para aquellos valores de caudal que no aparecen exactamente en la tabla se deberá realizar interpolación lineal para determinar la variación permitida.” </a:t>
            </a:r>
            <a:endParaRPr lang="es-CO" sz="900" dirty="0">
              <a:solidFill>
                <a:schemeClr val="tx1">
                  <a:lumMod val="90000"/>
                  <a:lumOff val="10000"/>
                </a:schemeClr>
              </a:solidFill>
            </a:endParaRPr>
          </a:p>
          <a:p>
            <a:pPr marL="0" marR="0" indent="0" algn="ctr" defTabSz="914400" rtl="0" eaLnBrk="1" fontAlgn="auto" latinLnBrk="0" hangingPunct="1">
              <a:lnSpc>
                <a:spcPct val="100000"/>
              </a:lnSpc>
              <a:spcBef>
                <a:spcPct val="0"/>
              </a:spcBef>
              <a:spcAft>
                <a:spcPts val="0"/>
              </a:spcAft>
              <a:buClrTx/>
              <a:buSzTx/>
              <a:buFontTx/>
              <a:buNone/>
              <a:tabLst/>
            </a:pPr>
            <a:endParaRPr kumimoji="0" lang="es-CO" sz="900" b="0" i="0" u="none" strike="noStrike" kern="1200" cap="none" spc="0" normalizeH="0" baseline="0" noProof="0" dirty="0">
              <a:ln>
                <a:noFill/>
              </a:ln>
              <a:solidFill>
                <a:schemeClr val="tx1">
                  <a:lumMod val="90000"/>
                  <a:lumOff val="10000"/>
                </a:schemeClr>
              </a:solidFill>
              <a:effectLst/>
              <a:uLnTx/>
              <a:uFillTx/>
              <a:ea typeface="+mj-ea"/>
              <a:cs typeface="+mj-cs"/>
            </a:endParaRPr>
          </a:p>
        </p:txBody>
      </p:sp>
      <p:sp>
        <p:nvSpPr>
          <p:cNvPr id="15" name="CuadroTexto 14"/>
          <p:cNvSpPr txBox="1"/>
          <p:nvPr/>
        </p:nvSpPr>
        <p:spPr>
          <a:xfrm>
            <a:off x="4981342" y="1903694"/>
            <a:ext cx="3165212" cy="553998"/>
          </a:xfrm>
          <a:prstGeom prst="rect">
            <a:avLst/>
          </a:prstGeom>
        </p:spPr>
        <p:txBody>
          <a:bodyPr wrap="square" rtlCol="0">
            <a:spAutoFit/>
          </a:bodyPr>
          <a:lstStyle/>
          <a:p>
            <a:pPr algn="ctr">
              <a:spcBef>
                <a:spcPct val="0"/>
              </a:spcBef>
            </a:pPr>
            <a:r>
              <a:rPr lang="es-ES" sz="1000" b="1" dirty="0">
                <a:solidFill>
                  <a:schemeClr val="tx1">
                    <a:lumMod val="90000"/>
                    <a:lumOff val="10000"/>
                  </a:schemeClr>
                </a:solidFill>
              </a:rPr>
              <a:t>Restricción de la variación de caudales descargados por la central, para un día dado en función del caudal descargado el día anterior</a:t>
            </a:r>
            <a:endParaRPr kumimoji="0" lang="es-CO" sz="1000" b="1" u="none" strike="noStrike" kern="1200" cap="none" spc="0" normalizeH="0" baseline="0" noProof="0" dirty="0">
              <a:ln>
                <a:noFill/>
              </a:ln>
              <a:solidFill>
                <a:schemeClr val="tx1">
                  <a:lumMod val="90000"/>
                  <a:lumOff val="10000"/>
                </a:schemeClr>
              </a:solidFill>
              <a:uLnTx/>
              <a:uFillTx/>
              <a:ea typeface="+mj-ea"/>
              <a:cs typeface="+mj-cs"/>
            </a:endParaRPr>
          </a:p>
        </p:txBody>
      </p:sp>
    </p:spTree>
    <p:extLst>
      <p:ext uri="{BB962C8B-B14F-4D97-AF65-F5344CB8AC3E}">
        <p14:creationId xmlns:p14="http://schemas.microsoft.com/office/powerpoint/2010/main" val="39763028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Marcador de texto"/>
          <p:cNvSpPr>
            <a:spLocks noGrp="1"/>
          </p:cNvSpPr>
          <p:nvPr>
            <p:ph type="body" idx="13"/>
          </p:nvPr>
        </p:nvSpPr>
        <p:spPr/>
        <p:txBody>
          <a:bodyPr/>
          <a:lstStyle/>
          <a:p>
            <a:r>
              <a:rPr lang="es-CO" dirty="0"/>
              <a:t>Proyecto Hidroeléctrico Ituango</a:t>
            </a:r>
          </a:p>
        </p:txBody>
      </p:sp>
      <p:sp>
        <p:nvSpPr>
          <p:cNvPr id="7" name="6 Marcador de texto"/>
          <p:cNvSpPr>
            <a:spLocks noGrp="1"/>
          </p:cNvSpPr>
          <p:nvPr>
            <p:ph type="body" idx="14"/>
          </p:nvPr>
        </p:nvSpPr>
        <p:spPr/>
        <p:txBody>
          <a:bodyPr/>
          <a:lstStyle/>
          <a:p>
            <a:r>
              <a:rPr lang="es-CO" dirty="0"/>
              <a:t>2.2 Licencia Ambiental y PMA</a:t>
            </a:r>
          </a:p>
        </p:txBody>
      </p:sp>
      <p:sp>
        <p:nvSpPr>
          <p:cNvPr id="8" name="7 Marcador de texto"/>
          <p:cNvSpPr>
            <a:spLocks noGrp="1"/>
          </p:cNvSpPr>
          <p:nvPr>
            <p:ph type="body" idx="15"/>
          </p:nvPr>
        </p:nvSpPr>
        <p:spPr/>
        <p:txBody>
          <a:bodyPr/>
          <a:lstStyle/>
          <a:p>
            <a:r>
              <a:rPr lang="es-CO" dirty="0"/>
              <a:t>Variación Máxima de Caudales según PMA</a:t>
            </a:r>
          </a:p>
        </p:txBody>
      </p:sp>
      <p:sp>
        <p:nvSpPr>
          <p:cNvPr id="3" name="2 Marcador de número de diapositiva"/>
          <p:cNvSpPr>
            <a:spLocks noGrp="1"/>
          </p:cNvSpPr>
          <p:nvPr>
            <p:ph type="sldNum" sz="quarter" idx="20"/>
          </p:nvPr>
        </p:nvSpPr>
        <p:spPr/>
        <p:txBody>
          <a:bodyPr/>
          <a:lstStyle/>
          <a:p>
            <a:fld id="{E342E011-D739-4258-81A8-D148B475F0B5}" type="slidenum">
              <a:rPr lang="es-CO" smtClean="0"/>
              <a:pPr/>
              <a:t>17</a:t>
            </a:fld>
            <a:endParaRPr lang="es-CO" dirty="0"/>
          </a:p>
        </p:txBody>
      </p:sp>
      <p:pic>
        <p:nvPicPr>
          <p:cNvPr id="16" name="Imagen 15">
            <a:extLst>
              <a:ext uri="{FF2B5EF4-FFF2-40B4-BE49-F238E27FC236}">
                <a16:creationId xmlns:a16="http://schemas.microsoft.com/office/drawing/2014/main" id="{A756CF97-BBAC-40B4-A2AD-3B8A487F1694}"/>
              </a:ext>
            </a:extLst>
          </p:cNvPr>
          <p:cNvPicPr>
            <a:picLocks noChangeAspect="1"/>
          </p:cNvPicPr>
          <p:nvPr/>
        </p:nvPicPr>
        <p:blipFill>
          <a:blip r:embed="rId2"/>
          <a:stretch>
            <a:fillRect/>
          </a:stretch>
        </p:blipFill>
        <p:spPr>
          <a:xfrm>
            <a:off x="1073467" y="1702634"/>
            <a:ext cx="6997066" cy="4247293"/>
          </a:xfrm>
          <a:prstGeom prst="rect">
            <a:avLst/>
          </a:prstGeom>
        </p:spPr>
      </p:pic>
    </p:spTree>
    <p:extLst>
      <p:ext uri="{BB962C8B-B14F-4D97-AF65-F5344CB8AC3E}">
        <p14:creationId xmlns:p14="http://schemas.microsoft.com/office/powerpoint/2010/main" val="3509532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Marcador de texto"/>
          <p:cNvSpPr>
            <a:spLocks noGrp="1"/>
          </p:cNvSpPr>
          <p:nvPr>
            <p:ph type="body" idx="13"/>
          </p:nvPr>
        </p:nvSpPr>
        <p:spPr/>
        <p:txBody>
          <a:bodyPr/>
          <a:lstStyle/>
          <a:p>
            <a:r>
              <a:rPr lang="es-CO" dirty="0"/>
              <a:t>Proyecto Hidroeléctrico Ituango</a:t>
            </a:r>
          </a:p>
        </p:txBody>
      </p:sp>
      <p:sp>
        <p:nvSpPr>
          <p:cNvPr id="7" name="6 Marcador de texto"/>
          <p:cNvSpPr>
            <a:spLocks noGrp="1"/>
          </p:cNvSpPr>
          <p:nvPr>
            <p:ph type="body" idx="14"/>
          </p:nvPr>
        </p:nvSpPr>
        <p:spPr/>
        <p:txBody>
          <a:bodyPr/>
          <a:lstStyle/>
          <a:p>
            <a:r>
              <a:rPr lang="es-CO" dirty="0"/>
              <a:t>2.2 Licencia Ambiental y PMA</a:t>
            </a:r>
          </a:p>
        </p:txBody>
      </p:sp>
      <p:sp>
        <p:nvSpPr>
          <p:cNvPr id="8" name="7 Marcador de texto"/>
          <p:cNvSpPr>
            <a:spLocks noGrp="1"/>
          </p:cNvSpPr>
          <p:nvPr>
            <p:ph type="body" idx="15"/>
          </p:nvPr>
        </p:nvSpPr>
        <p:spPr/>
        <p:txBody>
          <a:bodyPr/>
          <a:lstStyle/>
          <a:p>
            <a:r>
              <a:rPr lang="es-CO" dirty="0"/>
              <a:t>Variación Máxima de Potencia</a:t>
            </a:r>
          </a:p>
        </p:txBody>
      </p:sp>
      <p:sp>
        <p:nvSpPr>
          <p:cNvPr id="3" name="2 Marcador de número de diapositiva"/>
          <p:cNvSpPr>
            <a:spLocks noGrp="1"/>
          </p:cNvSpPr>
          <p:nvPr>
            <p:ph type="sldNum" sz="quarter" idx="20"/>
          </p:nvPr>
        </p:nvSpPr>
        <p:spPr/>
        <p:txBody>
          <a:bodyPr/>
          <a:lstStyle/>
          <a:p>
            <a:fld id="{E342E011-D739-4258-81A8-D148B475F0B5}" type="slidenum">
              <a:rPr lang="es-CO" smtClean="0"/>
              <a:pPr/>
              <a:t>18</a:t>
            </a:fld>
            <a:endParaRPr lang="es-CO" dirty="0"/>
          </a:p>
        </p:txBody>
      </p:sp>
      <p:pic>
        <p:nvPicPr>
          <p:cNvPr id="10" name="Imagen 9">
            <a:extLst>
              <a:ext uri="{FF2B5EF4-FFF2-40B4-BE49-F238E27FC236}">
                <a16:creationId xmlns:a16="http://schemas.microsoft.com/office/drawing/2014/main" id="{018A67A1-A8F2-4344-9D36-0C4E3A0CCDDA}"/>
              </a:ext>
            </a:extLst>
          </p:cNvPr>
          <p:cNvPicPr>
            <a:picLocks noChangeAspect="1"/>
          </p:cNvPicPr>
          <p:nvPr/>
        </p:nvPicPr>
        <p:blipFill>
          <a:blip r:embed="rId2"/>
          <a:stretch>
            <a:fillRect/>
          </a:stretch>
        </p:blipFill>
        <p:spPr>
          <a:xfrm>
            <a:off x="1533318" y="1702633"/>
            <a:ext cx="6077365" cy="4462983"/>
          </a:xfrm>
          <a:prstGeom prst="rect">
            <a:avLst/>
          </a:prstGeom>
        </p:spPr>
      </p:pic>
    </p:spTree>
    <p:extLst>
      <p:ext uri="{BB962C8B-B14F-4D97-AF65-F5344CB8AC3E}">
        <p14:creationId xmlns:p14="http://schemas.microsoft.com/office/powerpoint/2010/main" val="151280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Marcador de texto"/>
          <p:cNvSpPr>
            <a:spLocks noGrp="1"/>
          </p:cNvSpPr>
          <p:nvPr>
            <p:ph type="body" idx="13"/>
          </p:nvPr>
        </p:nvSpPr>
        <p:spPr/>
        <p:txBody>
          <a:bodyPr/>
          <a:lstStyle/>
          <a:p>
            <a:r>
              <a:rPr lang="es-CO" dirty="0"/>
              <a:t>Proyecto Hidroeléctrico Ituango</a:t>
            </a:r>
          </a:p>
        </p:txBody>
      </p:sp>
      <p:sp>
        <p:nvSpPr>
          <p:cNvPr id="7" name="6 Marcador de texto"/>
          <p:cNvSpPr>
            <a:spLocks noGrp="1"/>
          </p:cNvSpPr>
          <p:nvPr>
            <p:ph type="body" idx="14"/>
          </p:nvPr>
        </p:nvSpPr>
        <p:spPr/>
        <p:txBody>
          <a:bodyPr/>
          <a:lstStyle/>
          <a:p>
            <a:r>
              <a:rPr lang="es-CO" dirty="0"/>
              <a:t>2.2 Licencia Ambiental y PMA</a:t>
            </a:r>
          </a:p>
        </p:txBody>
      </p:sp>
      <p:sp>
        <p:nvSpPr>
          <p:cNvPr id="8" name="7 Marcador de texto"/>
          <p:cNvSpPr>
            <a:spLocks noGrp="1"/>
          </p:cNvSpPr>
          <p:nvPr>
            <p:ph type="body" idx="15"/>
          </p:nvPr>
        </p:nvSpPr>
        <p:spPr/>
        <p:txBody>
          <a:bodyPr/>
          <a:lstStyle/>
          <a:p>
            <a:r>
              <a:rPr lang="es-CO" dirty="0"/>
              <a:t>Variación permitida en la Descarga</a:t>
            </a:r>
          </a:p>
        </p:txBody>
      </p:sp>
      <p:sp>
        <p:nvSpPr>
          <p:cNvPr id="3" name="2 Marcador de número de diapositiva"/>
          <p:cNvSpPr>
            <a:spLocks noGrp="1"/>
          </p:cNvSpPr>
          <p:nvPr>
            <p:ph type="sldNum" sz="quarter" idx="20"/>
          </p:nvPr>
        </p:nvSpPr>
        <p:spPr/>
        <p:txBody>
          <a:bodyPr/>
          <a:lstStyle/>
          <a:p>
            <a:fld id="{E342E011-D739-4258-81A8-D148B475F0B5}" type="slidenum">
              <a:rPr lang="es-CO" smtClean="0"/>
              <a:pPr/>
              <a:t>19</a:t>
            </a:fld>
            <a:endParaRPr lang="es-CO" dirty="0"/>
          </a:p>
        </p:txBody>
      </p:sp>
      <p:grpSp>
        <p:nvGrpSpPr>
          <p:cNvPr id="11" name="Grupo 10"/>
          <p:cNvGrpSpPr/>
          <p:nvPr/>
        </p:nvGrpSpPr>
        <p:grpSpPr>
          <a:xfrm>
            <a:off x="822829" y="1723023"/>
            <a:ext cx="7498343" cy="4226611"/>
            <a:chOff x="696967" y="1723023"/>
            <a:chExt cx="7953376" cy="4483101"/>
          </a:xfrm>
        </p:grpSpPr>
        <p:graphicFrame>
          <p:nvGraphicFramePr>
            <p:cNvPr id="12" name="Gráfico 11"/>
            <p:cNvGraphicFramePr>
              <a:graphicFrameLocks/>
            </p:cNvGraphicFramePr>
            <p:nvPr>
              <p:extLst>
                <p:ext uri="{D42A27DB-BD31-4B8C-83A1-F6EECF244321}">
                  <p14:modId xmlns:p14="http://schemas.microsoft.com/office/powerpoint/2010/main" val="527786056"/>
                </p:ext>
              </p:extLst>
            </p:nvPr>
          </p:nvGraphicFramePr>
          <p:xfrm>
            <a:off x="696967" y="1723023"/>
            <a:ext cx="7953376" cy="4483101"/>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Conector recto de flecha 12"/>
            <p:cNvCxnSpPr/>
            <p:nvPr/>
          </p:nvCxnSpPr>
          <p:spPr bwMode="auto">
            <a:xfrm flipH="1">
              <a:off x="4050176" y="3165977"/>
              <a:ext cx="465956" cy="849312"/>
            </a:xfrm>
            <a:prstGeom prst="straightConnector1">
              <a:avLst/>
            </a:prstGeom>
            <a:solidFill>
              <a:srgbClr val="5B9BD5"/>
            </a:solidFill>
            <a:ln w="12700" cap="flat" cmpd="sng" algn="ctr">
              <a:solidFill>
                <a:sysClr val="windowText" lastClr="000000"/>
              </a:solidFill>
              <a:prstDash val="solid"/>
              <a:round/>
              <a:headEnd type="none" w="med" len="med"/>
              <a:tailEnd type="triangle"/>
            </a:ln>
            <a:effectLst/>
          </p:spPr>
        </p:cxnSp>
        <p:sp>
          <p:nvSpPr>
            <p:cNvPr id="14" name="CuadroTexto 8"/>
            <p:cNvSpPr txBox="1"/>
            <p:nvPr/>
          </p:nvSpPr>
          <p:spPr>
            <a:xfrm>
              <a:off x="3324951" y="2917126"/>
              <a:ext cx="2314832"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s-CO" sz="1200" b="1" dirty="0">
                  <a:latin typeface="Trebuchet MS" panose="020B0603020202020204" pitchFamily="34" charset="0"/>
                </a:rPr>
                <a:t>Límite superior 414.8 m</a:t>
              </a:r>
              <a:r>
                <a:rPr lang="es-CO" sz="1200" b="1" baseline="30000" dirty="0">
                  <a:latin typeface="Trebuchet MS" panose="020B0603020202020204" pitchFamily="34" charset="0"/>
                </a:rPr>
                <a:t>3</a:t>
              </a:r>
              <a:r>
                <a:rPr lang="es-CO" sz="1200" b="1" dirty="0">
                  <a:latin typeface="Trebuchet MS" panose="020B0603020202020204" pitchFamily="34" charset="0"/>
                </a:rPr>
                <a:t>/s</a:t>
              </a:r>
            </a:p>
          </p:txBody>
        </p:sp>
        <p:sp>
          <p:nvSpPr>
            <p:cNvPr id="15" name="CuadroTexto 8"/>
            <p:cNvSpPr txBox="1"/>
            <p:nvPr/>
          </p:nvSpPr>
          <p:spPr>
            <a:xfrm>
              <a:off x="5186416" y="4127839"/>
              <a:ext cx="2180230"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s-CO" sz="1200" b="1" dirty="0">
                  <a:latin typeface="Trebuchet MS" panose="020B0603020202020204" pitchFamily="34" charset="0"/>
                </a:rPr>
                <a:t>Límite inferior 385.2 m</a:t>
              </a:r>
              <a:r>
                <a:rPr lang="es-CO" sz="1200" b="1" baseline="30000" dirty="0">
                  <a:latin typeface="Trebuchet MS" panose="020B0603020202020204" pitchFamily="34" charset="0"/>
                </a:rPr>
                <a:t>3</a:t>
              </a:r>
              <a:r>
                <a:rPr lang="es-CO" sz="1200" b="1" dirty="0">
                  <a:latin typeface="Trebuchet MS" panose="020B0603020202020204" pitchFamily="34" charset="0"/>
                </a:rPr>
                <a:t>/s</a:t>
              </a:r>
            </a:p>
          </p:txBody>
        </p:sp>
        <p:cxnSp>
          <p:nvCxnSpPr>
            <p:cNvPr id="16" name="Conector recto de flecha 15"/>
            <p:cNvCxnSpPr>
              <a:stCxn id="15" idx="1"/>
            </p:cNvCxnSpPr>
            <p:nvPr/>
          </p:nvCxnSpPr>
          <p:spPr>
            <a:xfrm flipH="1" flipV="1">
              <a:off x="4149923" y="4157454"/>
              <a:ext cx="1036492" cy="108885"/>
            </a:xfrm>
            <a:prstGeom prst="straightConnector1">
              <a:avLst/>
            </a:prstGeom>
            <a:noFill/>
            <a:ln w="12700" cap="flat" cmpd="sng" algn="ctr">
              <a:solidFill>
                <a:sysClr val="windowText" lastClr="000000"/>
              </a:solidFill>
              <a:prstDash val="solid"/>
              <a:miter lim="800000"/>
              <a:tailEnd type="triangle"/>
            </a:ln>
            <a:effectLst/>
          </p:spPr>
        </p:cxnSp>
      </p:grpSp>
    </p:spTree>
    <p:extLst>
      <p:ext uri="{BB962C8B-B14F-4D97-AF65-F5344CB8AC3E}">
        <p14:creationId xmlns:p14="http://schemas.microsoft.com/office/powerpoint/2010/main" val="3459737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p:txBody>
          <a:bodyPr/>
          <a:lstStyle/>
          <a:p>
            <a:r>
              <a:rPr lang="es-CO" dirty="0">
                <a:effectLst>
                  <a:outerShdw blurRad="38100" dist="38100" dir="2700000" algn="tl">
                    <a:srgbClr val="000000">
                      <a:alpha val="43137"/>
                    </a:srgbClr>
                  </a:outerShdw>
                </a:effectLst>
              </a:rPr>
              <a:t>PROYECTO HIDROELÉCTRICO ITUANGO</a:t>
            </a:r>
          </a:p>
        </p:txBody>
      </p:sp>
    </p:spTree>
    <p:extLst>
      <p:ext uri="{BB962C8B-B14F-4D97-AF65-F5344CB8AC3E}">
        <p14:creationId xmlns:p14="http://schemas.microsoft.com/office/powerpoint/2010/main" val="758351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57200" y="3075057"/>
            <a:ext cx="7962900" cy="707886"/>
          </a:xfrm>
        </p:spPr>
        <p:txBody>
          <a:bodyPr/>
          <a:lstStyle/>
          <a:p>
            <a:pPr marL="742950" indent="-742950">
              <a:buFont typeface="+mj-lt"/>
              <a:buAutoNum type="arabicPeriod" startAt="3"/>
            </a:pPr>
            <a:r>
              <a:rPr lang="es-CO" dirty="0">
                <a:effectLst>
                  <a:outerShdw blurRad="38100" dist="38100" dir="2700000" algn="tl">
                    <a:srgbClr val="000000">
                      <a:alpha val="43137"/>
                    </a:srgbClr>
                  </a:outerShdw>
                </a:effectLst>
              </a:rPr>
              <a:t>OPERACIÓN DEL PROYECTO</a:t>
            </a:r>
          </a:p>
        </p:txBody>
      </p:sp>
    </p:spTree>
    <p:extLst>
      <p:ext uri="{BB962C8B-B14F-4D97-AF65-F5344CB8AC3E}">
        <p14:creationId xmlns:p14="http://schemas.microsoft.com/office/powerpoint/2010/main" val="56643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idx="13"/>
          </p:nvPr>
        </p:nvSpPr>
        <p:spPr/>
        <p:txBody>
          <a:bodyPr/>
          <a:lstStyle/>
          <a:p>
            <a:r>
              <a:rPr lang="es-CO" dirty="0"/>
              <a:t>Proyecto Hidroeléctrico Ituango</a:t>
            </a:r>
          </a:p>
        </p:txBody>
      </p:sp>
      <p:sp>
        <p:nvSpPr>
          <p:cNvPr id="4" name="Marcador de texto 3"/>
          <p:cNvSpPr>
            <a:spLocks noGrp="1"/>
          </p:cNvSpPr>
          <p:nvPr>
            <p:ph type="body" idx="14"/>
          </p:nvPr>
        </p:nvSpPr>
        <p:spPr/>
        <p:txBody>
          <a:bodyPr/>
          <a:lstStyle/>
          <a:p>
            <a:r>
              <a:rPr lang="es-CO" dirty="0"/>
              <a:t>Implicaciones para el Despacho</a:t>
            </a:r>
          </a:p>
        </p:txBody>
      </p:sp>
      <p:sp>
        <p:nvSpPr>
          <p:cNvPr id="16" name="Globo: flecha hacia abajo 14"/>
          <p:cNvSpPr/>
          <p:nvPr/>
        </p:nvSpPr>
        <p:spPr>
          <a:xfrm>
            <a:off x="581024" y="1455738"/>
            <a:ext cx="1874506" cy="2007552"/>
          </a:xfrm>
          <a:prstGeom prst="downArrowCallout">
            <a:avLst>
              <a:gd name="adj1" fmla="val 22561"/>
              <a:gd name="adj2" fmla="val 25000"/>
              <a:gd name="adj3" fmla="val 18293"/>
              <a:gd name="adj4" fmla="val 73055"/>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600" dirty="0"/>
              <a:t>Declaración de Disponibilidad </a:t>
            </a:r>
          </a:p>
          <a:p>
            <a:pPr algn="ctr"/>
            <a:r>
              <a:rPr lang="es-CO" sz="1600" dirty="0"/>
              <a:t>Reporte Max y Min (MW) en función de Qpromedio</a:t>
            </a:r>
          </a:p>
        </p:txBody>
      </p:sp>
      <p:sp>
        <p:nvSpPr>
          <p:cNvPr id="18" name="Rectángulo 17"/>
          <p:cNvSpPr/>
          <p:nvPr/>
        </p:nvSpPr>
        <p:spPr>
          <a:xfrm>
            <a:off x="1343477" y="3481876"/>
            <a:ext cx="2016943" cy="652029"/>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600" dirty="0"/>
              <a:t>Caudal promedio descargado</a:t>
            </a:r>
          </a:p>
        </p:txBody>
      </p:sp>
      <p:sp>
        <p:nvSpPr>
          <p:cNvPr id="19" name="Rectángulo 18"/>
          <p:cNvSpPr/>
          <p:nvPr/>
        </p:nvSpPr>
        <p:spPr>
          <a:xfrm>
            <a:off x="3360421" y="3481877"/>
            <a:ext cx="2782468" cy="652029"/>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600" dirty="0"/>
              <a:t>Regla Operativa(RO) Variación máxima de caudal</a:t>
            </a:r>
          </a:p>
        </p:txBody>
      </p:sp>
      <p:sp>
        <p:nvSpPr>
          <p:cNvPr id="20" name="Flecha: curvada hacia abajo 12"/>
          <p:cNvSpPr/>
          <p:nvPr/>
        </p:nvSpPr>
        <p:spPr>
          <a:xfrm>
            <a:off x="2716230" y="2641207"/>
            <a:ext cx="2081512" cy="700788"/>
          </a:xfrm>
          <a:prstGeom prst="curvedDownArrow">
            <a:avLst>
              <a:gd name="adj1" fmla="val 25000"/>
              <a:gd name="adj2" fmla="val 74978"/>
              <a:gd name="adj3" fmla="val 39679"/>
            </a:avLst>
          </a:prstGeom>
          <a:solidFill>
            <a:srgbClr val="FFFF00"/>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tx1"/>
              </a:solidFill>
            </a:endParaRPr>
          </a:p>
        </p:txBody>
      </p:sp>
      <p:sp>
        <p:nvSpPr>
          <p:cNvPr id="21" name="Rectángulo 20"/>
          <p:cNvSpPr/>
          <p:nvPr/>
        </p:nvSpPr>
        <p:spPr>
          <a:xfrm>
            <a:off x="1343479" y="4281531"/>
            <a:ext cx="2016942" cy="491868"/>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dirty="0"/>
              <a:t>T-1</a:t>
            </a:r>
          </a:p>
        </p:txBody>
      </p:sp>
      <p:sp>
        <p:nvSpPr>
          <p:cNvPr id="22" name="Rectángulo 21"/>
          <p:cNvSpPr/>
          <p:nvPr/>
        </p:nvSpPr>
        <p:spPr>
          <a:xfrm>
            <a:off x="3360420" y="4281530"/>
            <a:ext cx="2782469" cy="491868"/>
          </a:xfrm>
          <a:prstGeom prst="rect">
            <a:avLst/>
          </a:prstGeom>
          <a:solidFill>
            <a:schemeClr val="accent2">
              <a:lumMod val="60000"/>
              <a:lumOff val="4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highlight>
                <a:srgbClr val="7AD400"/>
              </a:highlight>
            </a:endParaRPr>
          </a:p>
          <a:p>
            <a:pPr algn="ctr"/>
            <a:r>
              <a:rPr lang="es-CO">
                <a:highlight>
                  <a:srgbClr val="7AD400"/>
                </a:highlight>
              </a:rPr>
              <a:t>T</a:t>
            </a:r>
            <a:endParaRPr lang="es-CO" dirty="0">
              <a:highlight>
                <a:srgbClr val="7AD400"/>
              </a:highlight>
            </a:endParaRPr>
          </a:p>
          <a:p>
            <a:pPr algn="ctr"/>
            <a:endParaRPr lang="es-CO" dirty="0">
              <a:highlight>
                <a:srgbClr val="7AD400"/>
              </a:highlight>
            </a:endParaRPr>
          </a:p>
        </p:txBody>
      </p:sp>
      <p:sp>
        <p:nvSpPr>
          <p:cNvPr id="23" name="Globo: flecha hacia arriba 15"/>
          <p:cNvSpPr/>
          <p:nvPr/>
        </p:nvSpPr>
        <p:spPr>
          <a:xfrm>
            <a:off x="1609498" y="4815930"/>
            <a:ext cx="1484900" cy="1136863"/>
          </a:xfrm>
          <a:prstGeom prst="upArrowCallout">
            <a:avLst/>
          </a:prstGeom>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600" dirty="0"/>
              <a:t>Despacho para T</a:t>
            </a:r>
          </a:p>
        </p:txBody>
      </p:sp>
      <p:sp>
        <p:nvSpPr>
          <p:cNvPr id="24" name="Globo: flecha hacia abajo 16"/>
          <p:cNvSpPr/>
          <p:nvPr/>
        </p:nvSpPr>
        <p:spPr>
          <a:xfrm>
            <a:off x="3565059" y="4815930"/>
            <a:ext cx="2373189" cy="1427095"/>
          </a:xfrm>
          <a:prstGeom prst="downArrowCallou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600" dirty="0"/>
              <a:t>Qpromedio real descargado diferente al Qpromedio programado</a:t>
            </a:r>
          </a:p>
        </p:txBody>
      </p:sp>
      <p:sp>
        <p:nvSpPr>
          <p:cNvPr id="17" name="Globo: flecha izquierda 13"/>
          <p:cNvSpPr/>
          <p:nvPr/>
        </p:nvSpPr>
        <p:spPr>
          <a:xfrm>
            <a:off x="6139816" y="2144418"/>
            <a:ext cx="2394584" cy="2674915"/>
          </a:xfrm>
          <a:prstGeom prst="leftArrowCallout">
            <a:avLst>
              <a:gd name="adj1" fmla="val 19793"/>
              <a:gd name="adj2" fmla="val 21305"/>
              <a:gd name="adj3" fmla="val 14433"/>
              <a:gd name="adj4" fmla="val 75001"/>
            </a:avLst>
          </a:prstGeom>
          <a:solidFill>
            <a:srgbClr val="FBCCFC"/>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b="1" dirty="0"/>
              <a:t>Excepción:</a:t>
            </a:r>
            <a:r>
              <a:rPr lang="es-CO" sz="1600" dirty="0"/>
              <a:t> Descarga por el rebosadero o embalse lleno(descargas por excedentes de almacenamiento)</a:t>
            </a:r>
          </a:p>
        </p:txBody>
      </p:sp>
    </p:spTree>
    <p:extLst>
      <p:ext uri="{BB962C8B-B14F-4D97-AF65-F5344CB8AC3E}">
        <p14:creationId xmlns:p14="http://schemas.microsoft.com/office/powerpoint/2010/main" val="2499124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idx="13"/>
          </p:nvPr>
        </p:nvSpPr>
        <p:spPr/>
        <p:txBody>
          <a:bodyPr/>
          <a:lstStyle/>
          <a:p>
            <a:r>
              <a:rPr lang="es-CO" dirty="0"/>
              <a:t>Proyecto Hidroeléctrico Ituango</a:t>
            </a:r>
          </a:p>
        </p:txBody>
      </p:sp>
      <p:sp>
        <p:nvSpPr>
          <p:cNvPr id="3" name="Marcador de texto 2"/>
          <p:cNvSpPr>
            <a:spLocks noGrp="1"/>
          </p:cNvSpPr>
          <p:nvPr>
            <p:ph type="body" idx="14"/>
          </p:nvPr>
        </p:nvSpPr>
        <p:spPr/>
        <p:txBody>
          <a:bodyPr/>
          <a:lstStyle/>
          <a:p>
            <a:r>
              <a:rPr lang="es-CO" dirty="0"/>
              <a:t>Implicaciones para el Despacho</a:t>
            </a:r>
          </a:p>
        </p:txBody>
      </p:sp>
      <p:sp>
        <p:nvSpPr>
          <p:cNvPr id="4" name="Marcador de texto 3"/>
          <p:cNvSpPr>
            <a:spLocks noGrp="1"/>
          </p:cNvSpPr>
          <p:nvPr>
            <p:ph type="body" sz="quarter" idx="19"/>
          </p:nvPr>
        </p:nvSpPr>
        <p:spPr/>
        <p:txBody>
          <a:bodyPr/>
          <a:lstStyle/>
          <a:p>
            <a:pPr marL="285750" indent="-285750">
              <a:lnSpc>
                <a:spcPts val="4000"/>
              </a:lnSpc>
              <a:spcBef>
                <a:spcPts val="0"/>
              </a:spcBef>
              <a:spcAft>
                <a:spcPts val="1800"/>
              </a:spcAft>
              <a:buFont typeface="Wingdings" panose="05000000000000000000" pitchFamily="2" charset="2"/>
              <a:buChar char="§"/>
            </a:pPr>
            <a:r>
              <a:rPr lang="es-ES" sz="1800" dirty="0">
                <a:solidFill>
                  <a:schemeClr val="tx1">
                    <a:lumMod val="90000"/>
                    <a:lumOff val="10000"/>
                  </a:schemeClr>
                </a:solidFill>
              </a:rPr>
              <a:t>Al momento de realizar el despacho se desconoce el valor real de caudal promedio descargado del día. Este dato es necesario para determinar los límites de caudal establecidos en la resolución, lo cual implica que debe realizarse el despacho del día siguiente con la información del despacho del día actual.</a:t>
            </a:r>
          </a:p>
          <a:p>
            <a:pPr marL="285750" indent="-285750">
              <a:lnSpc>
                <a:spcPts val="4000"/>
              </a:lnSpc>
              <a:spcBef>
                <a:spcPts val="0"/>
              </a:spcBef>
              <a:buFont typeface="Wingdings" panose="05000000000000000000" pitchFamily="2" charset="2"/>
              <a:buChar char="§"/>
            </a:pPr>
            <a:r>
              <a:rPr lang="es-ES" sz="1800" dirty="0">
                <a:solidFill>
                  <a:schemeClr val="tx1">
                    <a:lumMod val="90000"/>
                    <a:lumOff val="10000"/>
                  </a:schemeClr>
                </a:solidFill>
              </a:rPr>
              <a:t>Dado que la regla operativa está dada en términos de caudal, debe aplicarse el mejor dato conocido del factor de conversión para hacer la declaración de disponibilidad. </a:t>
            </a:r>
          </a:p>
          <a:p>
            <a:pPr>
              <a:lnSpc>
                <a:spcPts val="4000"/>
              </a:lnSpc>
              <a:spcBef>
                <a:spcPts val="0"/>
              </a:spcBef>
            </a:pPr>
            <a:endParaRPr lang="es-CO" sz="1800" dirty="0">
              <a:solidFill>
                <a:schemeClr val="tx1">
                  <a:lumMod val="90000"/>
                  <a:lumOff val="10000"/>
                </a:schemeClr>
              </a:solidFill>
            </a:endParaRPr>
          </a:p>
        </p:txBody>
      </p:sp>
      <p:sp>
        <p:nvSpPr>
          <p:cNvPr id="5" name="Marcador de número de diapositiva 4"/>
          <p:cNvSpPr>
            <a:spLocks noGrp="1"/>
          </p:cNvSpPr>
          <p:nvPr>
            <p:ph type="sldNum" sz="quarter" idx="20"/>
          </p:nvPr>
        </p:nvSpPr>
        <p:spPr/>
        <p:txBody>
          <a:bodyPr/>
          <a:lstStyle/>
          <a:p>
            <a:fld id="{E342E011-D739-4258-81A8-D148B475F0B5}" type="slidenum">
              <a:rPr lang="es-CO" smtClean="0"/>
              <a:t>22</a:t>
            </a:fld>
            <a:endParaRPr lang="es-CO" dirty="0"/>
          </a:p>
        </p:txBody>
      </p:sp>
    </p:spTree>
    <p:extLst>
      <p:ext uri="{BB962C8B-B14F-4D97-AF65-F5344CB8AC3E}">
        <p14:creationId xmlns:p14="http://schemas.microsoft.com/office/powerpoint/2010/main" val="39000734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idx="13"/>
          </p:nvPr>
        </p:nvSpPr>
        <p:spPr/>
        <p:txBody>
          <a:bodyPr/>
          <a:lstStyle/>
          <a:p>
            <a:r>
              <a:rPr lang="es-CO" dirty="0"/>
              <a:t>Proyecto Hidroeléctrico Ituango</a:t>
            </a:r>
          </a:p>
        </p:txBody>
      </p:sp>
      <p:sp>
        <p:nvSpPr>
          <p:cNvPr id="3" name="Marcador de texto 2"/>
          <p:cNvSpPr>
            <a:spLocks noGrp="1"/>
          </p:cNvSpPr>
          <p:nvPr>
            <p:ph type="body" idx="14"/>
          </p:nvPr>
        </p:nvSpPr>
        <p:spPr>
          <a:xfrm>
            <a:off x="466725" y="911786"/>
            <a:ext cx="7570800" cy="432048"/>
          </a:xfrm>
        </p:spPr>
        <p:txBody>
          <a:bodyPr/>
          <a:lstStyle/>
          <a:p>
            <a:r>
              <a:rPr lang="es-CO" dirty="0"/>
              <a:t>Situaciones Operativas que afectan el cumplimiento de la Regla de Operación</a:t>
            </a:r>
          </a:p>
        </p:txBody>
      </p:sp>
      <p:sp>
        <p:nvSpPr>
          <p:cNvPr id="4" name="Marcador de texto 3"/>
          <p:cNvSpPr>
            <a:spLocks noGrp="1"/>
          </p:cNvSpPr>
          <p:nvPr>
            <p:ph type="body" sz="quarter" idx="19"/>
          </p:nvPr>
        </p:nvSpPr>
        <p:spPr>
          <a:xfrm>
            <a:off x="466725" y="2055812"/>
            <a:ext cx="7953376" cy="4483100"/>
          </a:xfrm>
        </p:spPr>
        <p:txBody>
          <a:bodyPr/>
          <a:lstStyle/>
          <a:p>
            <a:pPr marL="285750" indent="-285750">
              <a:lnSpc>
                <a:spcPts val="30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Variación del Factor de Conversión con el nivel del embalse.</a:t>
            </a:r>
          </a:p>
          <a:p>
            <a:pPr marL="285750" indent="-285750">
              <a:lnSpc>
                <a:spcPts val="30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Salidas forzadas y programadas de las máquinas.</a:t>
            </a:r>
          </a:p>
          <a:p>
            <a:pPr marL="285750" indent="-285750">
              <a:lnSpc>
                <a:spcPts val="30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Contingencias y Restricciones en el sistema transmisión por diversas causas.</a:t>
            </a:r>
          </a:p>
          <a:p>
            <a:pPr marL="285750" indent="-285750">
              <a:lnSpc>
                <a:spcPts val="30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Autorizaciones al programa de generación</a:t>
            </a:r>
          </a:p>
          <a:p>
            <a:pPr marL="285750" indent="-285750">
              <a:lnSpc>
                <a:spcPts val="30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Redespachos.</a:t>
            </a:r>
          </a:p>
          <a:p>
            <a:pPr marL="285750" indent="-285750">
              <a:lnSpc>
                <a:spcPts val="30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Restricciones operativas de las compuertas de vertedero y descarga intermedia  </a:t>
            </a:r>
          </a:p>
          <a:p>
            <a:pPr>
              <a:lnSpc>
                <a:spcPts val="3000"/>
              </a:lnSpc>
              <a:spcBef>
                <a:spcPts val="0"/>
              </a:spcBef>
              <a:spcAft>
                <a:spcPts val="1200"/>
              </a:spcAft>
            </a:pPr>
            <a:endParaRPr lang="es-CO" sz="1800" dirty="0">
              <a:solidFill>
                <a:schemeClr val="tx1">
                  <a:lumMod val="90000"/>
                  <a:lumOff val="10000"/>
                </a:schemeClr>
              </a:solidFill>
            </a:endParaRPr>
          </a:p>
        </p:txBody>
      </p:sp>
      <p:sp>
        <p:nvSpPr>
          <p:cNvPr id="5" name="Marcador de número de diapositiva 4"/>
          <p:cNvSpPr>
            <a:spLocks noGrp="1"/>
          </p:cNvSpPr>
          <p:nvPr>
            <p:ph type="sldNum" sz="quarter" idx="20"/>
          </p:nvPr>
        </p:nvSpPr>
        <p:spPr/>
        <p:txBody>
          <a:bodyPr/>
          <a:lstStyle/>
          <a:p>
            <a:fld id="{E342E011-D739-4258-81A8-D148B475F0B5}" type="slidenum">
              <a:rPr lang="es-CO" smtClean="0"/>
              <a:t>23</a:t>
            </a:fld>
            <a:endParaRPr lang="es-CO" dirty="0"/>
          </a:p>
        </p:txBody>
      </p:sp>
    </p:spTree>
    <p:extLst>
      <p:ext uri="{BB962C8B-B14F-4D97-AF65-F5344CB8AC3E}">
        <p14:creationId xmlns:p14="http://schemas.microsoft.com/office/powerpoint/2010/main" val="2059215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idx="13"/>
          </p:nvPr>
        </p:nvSpPr>
        <p:spPr/>
        <p:txBody>
          <a:bodyPr/>
          <a:lstStyle/>
          <a:p>
            <a:r>
              <a:rPr lang="es-CO" dirty="0"/>
              <a:t>Proyecto Hidroeléctrico Ituango</a:t>
            </a:r>
          </a:p>
        </p:txBody>
      </p:sp>
      <p:sp>
        <p:nvSpPr>
          <p:cNvPr id="3" name="Marcador de texto 2"/>
          <p:cNvSpPr>
            <a:spLocks noGrp="1"/>
          </p:cNvSpPr>
          <p:nvPr>
            <p:ph type="body" idx="14"/>
          </p:nvPr>
        </p:nvSpPr>
        <p:spPr>
          <a:xfrm>
            <a:off x="466724" y="608502"/>
            <a:ext cx="7953375" cy="432048"/>
          </a:xfrm>
        </p:spPr>
        <p:txBody>
          <a:bodyPr/>
          <a:lstStyle/>
          <a:p>
            <a:r>
              <a:rPr lang="es-CO" sz="3000" dirty="0"/>
              <a:t>Implicaciones de la Apertura de Compuertas</a:t>
            </a:r>
          </a:p>
        </p:txBody>
      </p:sp>
      <p:sp>
        <p:nvSpPr>
          <p:cNvPr id="4" name="Marcador de texto 3"/>
          <p:cNvSpPr>
            <a:spLocks noGrp="1"/>
          </p:cNvSpPr>
          <p:nvPr>
            <p:ph type="body" sz="quarter" idx="19"/>
          </p:nvPr>
        </p:nvSpPr>
        <p:spPr/>
        <p:txBody>
          <a:bodyPr/>
          <a:lstStyle/>
          <a:p>
            <a:pPr>
              <a:lnSpc>
                <a:spcPct val="150000"/>
              </a:lnSpc>
              <a:spcBef>
                <a:spcPts val="0"/>
              </a:spcBef>
              <a:spcAft>
                <a:spcPts val="1200"/>
              </a:spcAft>
            </a:pPr>
            <a:r>
              <a:rPr lang="es-ES" sz="1800" dirty="0">
                <a:solidFill>
                  <a:schemeClr val="tx1">
                    <a:lumMod val="90000"/>
                    <a:lumOff val="10000"/>
                  </a:schemeClr>
                </a:solidFill>
              </a:rPr>
              <a:t>Las compuertas de vertedero y de descarga intermedia son concebidas como elementos de seguridad de las presas que no deben operarse mas allá de cumplir la función de proteger la presa del daño potencial, debido a excesos de caudal o excedentes de almacenamiento o en el evento que se presenten problemas estructurales. La operación frecuente de las compuertas conlleva a las siguientes situaciones:</a:t>
            </a:r>
          </a:p>
          <a:p>
            <a:pPr marL="285750" indent="-285750">
              <a:lnSpc>
                <a:spcPct val="1500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Fallas durante la operación por bloqueos mecánicos que podrían ocasionar un colapso de la compuerta.</a:t>
            </a:r>
          </a:p>
          <a:p>
            <a:pPr marL="285750" indent="-285750">
              <a:lnSpc>
                <a:spcPct val="150000"/>
              </a:lnSpc>
              <a:spcBef>
                <a:spcPts val="0"/>
              </a:spcBef>
              <a:spcAft>
                <a:spcPts val="600"/>
              </a:spcAft>
              <a:buFont typeface="Wingdings" panose="05000000000000000000" pitchFamily="2" charset="2"/>
              <a:buChar char="§"/>
            </a:pPr>
            <a:r>
              <a:rPr lang="es-ES" sz="1800" dirty="0">
                <a:solidFill>
                  <a:schemeClr val="tx1">
                    <a:lumMod val="90000"/>
                    <a:lumOff val="10000"/>
                  </a:schemeClr>
                </a:solidFill>
              </a:rPr>
              <a:t>Incremento de la probabilidad de falla de la compuerta a causa de la fatiga mecánica. </a:t>
            </a:r>
            <a:endParaRPr lang="es-CO" sz="1800" dirty="0">
              <a:solidFill>
                <a:schemeClr val="tx1">
                  <a:lumMod val="90000"/>
                  <a:lumOff val="10000"/>
                </a:schemeClr>
              </a:solidFill>
            </a:endParaRPr>
          </a:p>
        </p:txBody>
      </p:sp>
      <p:sp>
        <p:nvSpPr>
          <p:cNvPr id="5" name="Marcador de número de diapositiva 4"/>
          <p:cNvSpPr>
            <a:spLocks noGrp="1"/>
          </p:cNvSpPr>
          <p:nvPr>
            <p:ph type="sldNum" sz="quarter" idx="20"/>
          </p:nvPr>
        </p:nvSpPr>
        <p:spPr/>
        <p:txBody>
          <a:bodyPr/>
          <a:lstStyle/>
          <a:p>
            <a:fld id="{E342E011-D739-4258-81A8-D148B475F0B5}" type="slidenum">
              <a:rPr lang="es-CO" smtClean="0"/>
              <a:t>24</a:t>
            </a:fld>
            <a:endParaRPr lang="es-CO" dirty="0"/>
          </a:p>
        </p:txBody>
      </p:sp>
    </p:spTree>
    <p:extLst>
      <p:ext uri="{BB962C8B-B14F-4D97-AF65-F5344CB8AC3E}">
        <p14:creationId xmlns:p14="http://schemas.microsoft.com/office/powerpoint/2010/main" val="37254988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idx="13"/>
          </p:nvPr>
        </p:nvSpPr>
        <p:spPr/>
        <p:txBody>
          <a:bodyPr/>
          <a:lstStyle/>
          <a:p>
            <a:r>
              <a:rPr lang="es-CO" dirty="0"/>
              <a:t>Proyecto Hidroeléctrico Ituango</a:t>
            </a:r>
          </a:p>
        </p:txBody>
      </p:sp>
      <p:sp>
        <p:nvSpPr>
          <p:cNvPr id="3" name="Marcador de texto 2"/>
          <p:cNvSpPr>
            <a:spLocks noGrp="1"/>
          </p:cNvSpPr>
          <p:nvPr>
            <p:ph type="body" idx="14"/>
          </p:nvPr>
        </p:nvSpPr>
        <p:spPr>
          <a:xfrm>
            <a:off x="466724" y="608502"/>
            <a:ext cx="7953375" cy="432048"/>
          </a:xfrm>
        </p:spPr>
        <p:txBody>
          <a:bodyPr/>
          <a:lstStyle/>
          <a:p>
            <a:r>
              <a:rPr lang="es-CO" sz="3000" dirty="0"/>
              <a:t>Implicaciones de la Apertura de Compuertas</a:t>
            </a:r>
          </a:p>
        </p:txBody>
      </p:sp>
      <p:sp>
        <p:nvSpPr>
          <p:cNvPr id="4" name="Marcador de texto 3"/>
          <p:cNvSpPr>
            <a:spLocks noGrp="1"/>
          </p:cNvSpPr>
          <p:nvPr>
            <p:ph type="body" sz="quarter" idx="19"/>
          </p:nvPr>
        </p:nvSpPr>
        <p:spPr/>
        <p:txBody>
          <a:bodyPr/>
          <a:lstStyle/>
          <a:p>
            <a:pPr marL="285750" indent="-285750">
              <a:lnSpc>
                <a:spcPts val="30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Desgaste de los sellos de las compuertas lo cual incrementa la frecuencia de los mantenimientos. </a:t>
            </a:r>
          </a:p>
          <a:p>
            <a:pPr marL="285750" indent="-285750">
              <a:lnSpc>
                <a:spcPts val="30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La reparación de los sellos de la compuerta implica la realización de una logística de grandes proporciones y el bloqueo de la vía a Ituango dado que sobre ella, deben emplazarse los equipos de alce que se usarían para la instalación de los stop </a:t>
            </a:r>
            <a:r>
              <a:rPr lang="es-ES" sz="1800" dirty="0" err="1">
                <a:solidFill>
                  <a:schemeClr val="tx1">
                    <a:lumMod val="90000"/>
                    <a:lumOff val="10000"/>
                  </a:schemeClr>
                </a:solidFill>
              </a:rPr>
              <a:t>logs</a:t>
            </a:r>
            <a:r>
              <a:rPr lang="es-ES" sz="1800" dirty="0">
                <a:solidFill>
                  <a:schemeClr val="tx1">
                    <a:lumMod val="90000"/>
                    <a:lumOff val="10000"/>
                  </a:schemeClr>
                </a:solidFill>
              </a:rPr>
              <a:t>.</a:t>
            </a:r>
          </a:p>
          <a:p>
            <a:pPr marL="285750" indent="-285750">
              <a:lnSpc>
                <a:spcPts val="30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Para realizar descargas por el vertedero debe ejecutarse un procedimiento contenido en un protocolo, tendiente a informar a la comunidad que se van a realizar descargas controladas. La ejecución secuencial de los pasos del protocolo para apertura de compuertas  requiere de largos periodos de tiempo. </a:t>
            </a:r>
            <a:endParaRPr lang="es-CO" sz="1800" dirty="0">
              <a:solidFill>
                <a:schemeClr val="tx1">
                  <a:lumMod val="90000"/>
                  <a:lumOff val="10000"/>
                </a:schemeClr>
              </a:solidFill>
            </a:endParaRPr>
          </a:p>
        </p:txBody>
      </p:sp>
      <p:sp>
        <p:nvSpPr>
          <p:cNvPr id="5" name="Marcador de número de diapositiva 4"/>
          <p:cNvSpPr>
            <a:spLocks noGrp="1"/>
          </p:cNvSpPr>
          <p:nvPr>
            <p:ph type="sldNum" sz="quarter" idx="20"/>
          </p:nvPr>
        </p:nvSpPr>
        <p:spPr/>
        <p:txBody>
          <a:bodyPr/>
          <a:lstStyle/>
          <a:p>
            <a:fld id="{E342E011-D739-4258-81A8-D148B475F0B5}" type="slidenum">
              <a:rPr lang="es-CO" smtClean="0"/>
              <a:t>25</a:t>
            </a:fld>
            <a:endParaRPr lang="es-CO" dirty="0"/>
          </a:p>
        </p:txBody>
      </p:sp>
    </p:spTree>
    <p:extLst>
      <p:ext uri="{BB962C8B-B14F-4D97-AF65-F5344CB8AC3E}">
        <p14:creationId xmlns:p14="http://schemas.microsoft.com/office/powerpoint/2010/main" val="25794877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5"/>
          <p:cNvSpPr>
            <a:spLocks noGrp="1"/>
          </p:cNvSpPr>
          <p:nvPr>
            <p:ph type="body" idx="13"/>
          </p:nvPr>
        </p:nvSpPr>
        <p:spPr/>
        <p:txBody>
          <a:bodyPr/>
          <a:lstStyle/>
          <a:p>
            <a:r>
              <a:rPr lang="es-CO" dirty="0"/>
              <a:t>Proyecto Hidroeléctrico Ituango</a:t>
            </a:r>
          </a:p>
        </p:txBody>
      </p:sp>
      <p:sp>
        <p:nvSpPr>
          <p:cNvPr id="7" name="Marcador de texto 6"/>
          <p:cNvSpPr>
            <a:spLocks noGrp="1"/>
          </p:cNvSpPr>
          <p:nvPr>
            <p:ph type="body" idx="14"/>
          </p:nvPr>
        </p:nvSpPr>
        <p:spPr>
          <a:xfrm>
            <a:off x="466725" y="608502"/>
            <a:ext cx="7921275" cy="432048"/>
          </a:xfrm>
        </p:spPr>
        <p:txBody>
          <a:bodyPr/>
          <a:lstStyle/>
          <a:p>
            <a:pPr lvl="0"/>
            <a:r>
              <a:rPr lang="es-CO" sz="3000"/>
              <a:t>Implicaciones de la Apertura de Compuertas</a:t>
            </a:r>
            <a:endParaRPr lang="es-CO" sz="3000" dirty="0"/>
          </a:p>
        </p:txBody>
      </p:sp>
      <p:sp>
        <p:nvSpPr>
          <p:cNvPr id="9" name="Marcador de contenido 8"/>
          <p:cNvSpPr>
            <a:spLocks noGrp="1"/>
          </p:cNvSpPr>
          <p:nvPr>
            <p:ph sz="quarter" idx="18"/>
          </p:nvPr>
        </p:nvSpPr>
        <p:spPr/>
        <p:txBody>
          <a:bodyPr/>
          <a:lstStyle/>
          <a:p>
            <a:pPr marL="0" indent="0" algn="just">
              <a:lnSpc>
                <a:spcPts val="3500"/>
              </a:lnSpc>
              <a:spcBef>
                <a:spcPts val="0"/>
              </a:spcBef>
              <a:spcAft>
                <a:spcPts val="1200"/>
              </a:spcAft>
              <a:buNone/>
            </a:pPr>
            <a:r>
              <a:rPr lang="es-ES" sz="1800" dirty="0">
                <a:solidFill>
                  <a:schemeClr val="tx1">
                    <a:lumMod val="90000"/>
                    <a:lumOff val="10000"/>
                  </a:schemeClr>
                </a:solidFill>
              </a:rPr>
              <a:t>Son elementos de seguridad de la presa considerados “fusibles”, utilizadas para realizar desembalses controlados en el caso de presentarse daños en el muro de la presa. Debido al arrastre de sedimentos que ocasiona la apertura de compuertas de este tipo y sus implicaciones ambientales, la necesidad de operación se ha de considerar únicamente en cuanto puedan requerirlo aquellas obras, averías o exigencias imprevisibles, pero posibles, que aconsejen su construcción. Su operación tiene implicaciones ambientales por la calidad del agua.</a:t>
            </a:r>
          </a:p>
          <a:p>
            <a:pPr marL="0" indent="0" algn="ctr">
              <a:lnSpc>
                <a:spcPts val="3500"/>
              </a:lnSpc>
              <a:spcBef>
                <a:spcPts val="0"/>
              </a:spcBef>
              <a:buNone/>
            </a:pPr>
            <a:r>
              <a:rPr lang="es-ES" sz="1400" dirty="0">
                <a:solidFill>
                  <a:schemeClr val="tx1">
                    <a:lumMod val="90000"/>
                    <a:lumOff val="10000"/>
                  </a:schemeClr>
                </a:solidFill>
              </a:rPr>
              <a:t>[Santos Madrid, A. Los Desagües de Fondo en Presas. Comité Nacional Español de Grandes Presas]</a:t>
            </a:r>
          </a:p>
          <a:p>
            <a:pPr marL="0" indent="0">
              <a:lnSpc>
                <a:spcPts val="3500"/>
              </a:lnSpc>
              <a:spcBef>
                <a:spcPts val="0"/>
              </a:spcBef>
              <a:buNone/>
            </a:pPr>
            <a:endParaRPr lang="es-CO" sz="1800" dirty="0">
              <a:solidFill>
                <a:schemeClr val="tx1">
                  <a:lumMod val="90000"/>
                  <a:lumOff val="10000"/>
                </a:schemeClr>
              </a:solidFill>
            </a:endParaRPr>
          </a:p>
        </p:txBody>
      </p:sp>
      <p:sp>
        <p:nvSpPr>
          <p:cNvPr id="8" name="Marcador de texto 7"/>
          <p:cNvSpPr>
            <a:spLocks noGrp="1"/>
          </p:cNvSpPr>
          <p:nvPr>
            <p:ph type="body" idx="15"/>
          </p:nvPr>
        </p:nvSpPr>
        <p:spPr/>
        <p:txBody>
          <a:bodyPr/>
          <a:lstStyle/>
          <a:p>
            <a:r>
              <a:rPr lang="es-CO" dirty="0"/>
              <a:t>Compuertas de Descarga Intermedia</a:t>
            </a:r>
          </a:p>
        </p:txBody>
      </p:sp>
      <p:sp>
        <p:nvSpPr>
          <p:cNvPr id="5" name="Marcador de número de diapositiva 4"/>
          <p:cNvSpPr>
            <a:spLocks noGrp="1"/>
          </p:cNvSpPr>
          <p:nvPr>
            <p:ph type="sldNum" sz="quarter" idx="19"/>
          </p:nvPr>
        </p:nvSpPr>
        <p:spPr/>
        <p:txBody>
          <a:bodyPr/>
          <a:lstStyle/>
          <a:p>
            <a:fld id="{E342E011-D739-4258-81A8-D148B475F0B5}" type="slidenum">
              <a:rPr lang="es-CO" smtClean="0"/>
              <a:t>26</a:t>
            </a:fld>
            <a:endParaRPr lang="es-CO" dirty="0"/>
          </a:p>
        </p:txBody>
      </p:sp>
    </p:spTree>
    <p:extLst>
      <p:ext uri="{BB962C8B-B14F-4D97-AF65-F5344CB8AC3E}">
        <p14:creationId xmlns:p14="http://schemas.microsoft.com/office/powerpoint/2010/main" val="2088287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idx="13"/>
          </p:nvPr>
        </p:nvSpPr>
        <p:spPr/>
        <p:txBody>
          <a:bodyPr/>
          <a:lstStyle/>
          <a:p>
            <a:r>
              <a:rPr lang="es-CO" dirty="0"/>
              <a:t>Proyecto Hidroeléctrico Ituango</a:t>
            </a:r>
          </a:p>
        </p:txBody>
      </p:sp>
      <p:sp>
        <p:nvSpPr>
          <p:cNvPr id="3" name="Marcador de texto 2"/>
          <p:cNvSpPr>
            <a:spLocks noGrp="1"/>
          </p:cNvSpPr>
          <p:nvPr>
            <p:ph type="body" idx="14"/>
          </p:nvPr>
        </p:nvSpPr>
        <p:spPr>
          <a:xfrm>
            <a:off x="466724" y="608502"/>
            <a:ext cx="7953375" cy="432048"/>
          </a:xfrm>
        </p:spPr>
        <p:txBody>
          <a:bodyPr/>
          <a:lstStyle/>
          <a:p>
            <a:r>
              <a:rPr lang="es-CO" dirty="0"/>
              <a:t>Características de la Descarga</a:t>
            </a:r>
          </a:p>
        </p:txBody>
      </p:sp>
      <p:sp>
        <p:nvSpPr>
          <p:cNvPr id="4" name="Marcador de texto 3"/>
          <p:cNvSpPr>
            <a:spLocks noGrp="1"/>
          </p:cNvSpPr>
          <p:nvPr>
            <p:ph type="body" sz="quarter" idx="19"/>
          </p:nvPr>
        </p:nvSpPr>
        <p:spPr>
          <a:xfrm>
            <a:off x="466724" y="1619511"/>
            <a:ext cx="7953376" cy="4483100"/>
          </a:xfrm>
        </p:spPr>
        <p:txBody>
          <a:bodyPr/>
          <a:lstStyle/>
          <a:p>
            <a:pPr marL="285750" indent="-285750">
              <a:lnSpc>
                <a:spcPts val="27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El proyecto tiene dos compuertas radiales de descarga intermedia diseñadas para un caudal de 225 m3/s cada una (450 m3/s).</a:t>
            </a:r>
          </a:p>
          <a:p>
            <a:pPr marL="285750" indent="-285750">
              <a:lnSpc>
                <a:spcPts val="27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Las compuertas de descarga intermedia no se deben operar cuando el nivel del embalse esté por encima de los 404 m.s.n.m.</a:t>
            </a:r>
          </a:p>
          <a:p>
            <a:pPr marL="285750" indent="-285750">
              <a:lnSpc>
                <a:spcPts val="2700"/>
              </a:lnSpc>
              <a:spcBef>
                <a:spcPts val="0"/>
              </a:spcBef>
              <a:spcAft>
                <a:spcPts val="1200"/>
              </a:spcAft>
              <a:buFont typeface="Wingdings" panose="05000000000000000000" pitchFamily="2" charset="2"/>
              <a:buChar char="§"/>
            </a:pPr>
            <a:r>
              <a:rPr lang="es-ES" sz="1800" dirty="0">
                <a:solidFill>
                  <a:schemeClr val="tx1">
                    <a:lumMod val="90000"/>
                    <a:lumOff val="10000"/>
                  </a:schemeClr>
                </a:solidFill>
              </a:rPr>
              <a:t>Los caudales mínimos que se deben descargar por el vertedero, para que los chorros disparados desde el deflector no impacten en las bermas de la excavación del cuenco son: Canal derecho conformado por las compuertas 2, 3 y 4: 550 m3/s y Canal izquierdo, conformado por la compuerta 1: 220 m3/s. </a:t>
            </a:r>
            <a:endParaRPr lang="es-CO" sz="1800" dirty="0">
              <a:solidFill>
                <a:schemeClr val="tx1">
                  <a:lumMod val="90000"/>
                  <a:lumOff val="10000"/>
                </a:schemeClr>
              </a:solidFill>
            </a:endParaRPr>
          </a:p>
        </p:txBody>
      </p:sp>
      <p:sp>
        <p:nvSpPr>
          <p:cNvPr id="5" name="Marcador de número de diapositiva 4"/>
          <p:cNvSpPr>
            <a:spLocks noGrp="1"/>
          </p:cNvSpPr>
          <p:nvPr>
            <p:ph type="sldNum" sz="quarter" idx="20"/>
          </p:nvPr>
        </p:nvSpPr>
        <p:spPr/>
        <p:txBody>
          <a:bodyPr/>
          <a:lstStyle/>
          <a:p>
            <a:fld id="{E342E011-D739-4258-81A8-D148B475F0B5}" type="slidenum">
              <a:rPr lang="es-CO" smtClean="0"/>
              <a:t>27</a:t>
            </a:fld>
            <a:endParaRPr lang="es-CO" dirty="0"/>
          </a:p>
        </p:txBody>
      </p:sp>
    </p:spTree>
    <p:extLst>
      <p:ext uri="{BB962C8B-B14F-4D97-AF65-F5344CB8AC3E}">
        <p14:creationId xmlns:p14="http://schemas.microsoft.com/office/powerpoint/2010/main" val="8652908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7"/>
          <p:cNvSpPr/>
          <p:nvPr/>
        </p:nvSpPr>
        <p:spPr>
          <a:xfrm>
            <a:off x="0" y="1337310"/>
            <a:ext cx="9144000" cy="4446270"/>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s-CO"/>
          </a:p>
        </p:txBody>
      </p:sp>
      <p:sp>
        <p:nvSpPr>
          <p:cNvPr id="2" name="Marcador de texto 1"/>
          <p:cNvSpPr>
            <a:spLocks noGrp="1"/>
          </p:cNvSpPr>
          <p:nvPr>
            <p:ph type="body" idx="13"/>
          </p:nvPr>
        </p:nvSpPr>
        <p:spPr/>
        <p:txBody>
          <a:bodyPr/>
          <a:lstStyle/>
          <a:p>
            <a:r>
              <a:rPr lang="es-CO" dirty="0"/>
              <a:t>Proyecto Hidroeléctrico Ituango</a:t>
            </a:r>
          </a:p>
        </p:txBody>
      </p:sp>
      <p:sp>
        <p:nvSpPr>
          <p:cNvPr id="3" name="Marcador de texto 2"/>
          <p:cNvSpPr>
            <a:spLocks noGrp="1"/>
          </p:cNvSpPr>
          <p:nvPr>
            <p:ph type="body" idx="14"/>
          </p:nvPr>
        </p:nvSpPr>
        <p:spPr>
          <a:xfrm>
            <a:off x="466724" y="608502"/>
            <a:ext cx="7953375" cy="432048"/>
          </a:xfrm>
        </p:spPr>
        <p:txBody>
          <a:bodyPr/>
          <a:lstStyle/>
          <a:p>
            <a:r>
              <a:rPr lang="es-CO" dirty="0"/>
              <a:t>Perfil de la Presa</a:t>
            </a:r>
          </a:p>
        </p:txBody>
      </p:sp>
      <p:sp>
        <p:nvSpPr>
          <p:cNvPr id="5" name="Marcador de número de diapositiva 4"/>
          <p:cNvSpPr>
            <a:spLocks noGrp="1"/>
          </p:cNvSpPr>
          <p:nvPr>
            <p:ph type="sldNum" sz="quarter" idx="20"/>
          </p:nvPr>
        </p:nvSpPr>
        <p:spPr/>
        <p:txBody>
          <a:bodyPr/>
          <a:lstStyle/>
          <a:p>
            <a:fld id="{E342E011-D739-4258-81A8-D148B475F0B5}" type="slidenum">
              <a:rPr lang="es-CO" smtClean="0"/>
              <a:t>28</a:t>
            </a:fld>
            <a:endParaRPr lang="es-CO" dirty="0"/>
          </a:p>
        </p:txBody>
      </p:sp>
      <p:pic>
        <p:nvPicPr>
          <p:cNvPr id="7" name="Imagen 6"/>
          <p:cNvPicPr>
            <a:picLocks noChangeAspect="1"/>
          </p:cNvPicPr>
          <p:nvPr/>
        </p:nvPicPr>
        <p:blipFill rotWithShape="1">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t="4607" r="1125" b="10716"/>
          <a:stretch/>
        </p:blipFill>
        <p:spPr>
          <a:xfrm>
            <a:off x="51435" y="1383030"/>
            <a:ext cx="9041130" cy="4354830"/>
          </a:xfrm>
          <a:prstGeom prst="rect">
            <a:avLst/>
          </a:prstGeom>
        </p:spPr>
      </p:pic>
    </p:spTree>
    <p:extLst>
      <p:ext uri="{BB962C8B-B14F-4D97-AF65-F5344CB8AC3E}">
        <p14:creationId xmlns:p14="http://schemas.microsoft.com/office/powerpoint/2010/main" val="28833537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idx="13"/>
          </p:nvPr>
        </p:nvSpPr>
        <p:spPr/>
        <p:txBody>
          <a:bodyPr/>
          <a:lstStyle/>
          <a:p>
            <a:r>
              <a:rPr lang="es-CO" dirty="0"/>
              <a:t>Proyecto Hidroeléctrico Ituango</a:t>
            </a:r>
          </a:p>
        </p:txBody>
      </p:sp>
      <p:sp>
        <p:nvSpPr>
          <p:cNvPr id="3" name="Marcador de texto 2"/>
          <p:cNvSpPr>
            <a:spLocks noGrp="1"/>
          </p:cNvSpPr>
          <p:nvPr>
            <p:ph type="body" idx="14"/>
          </p:nvPr>
        </p:nvSpPr>
        <p:spPr>
          <a:xfrm>
            <a:off x="466724" y="608502"/>
            <a:ext cx="7953375" cy="432048"/>
          </a:xfrm>
        </p:spPr>
        <p:txBody>
          <a:bodyPr/>
          <a:lstStyle/>
          <a:p>
            <a:r>
              <a:rPr lang="es-CO" dirty="0"/>
              <a:t>Compuerta Radial de Vertedero</a:t>
            </a:r>
          </a:p>
        </p:txBody>
      </p:sp>
      <p:sp>
        <p:nvSpPr>
          <p:cNvPr id="5" name="Marcador de número de diapositiva 4"/>
          <p:cNvSpPr>
            <a:spLocks noGrp="1"/>
          </p:cNvSpPr>
          <p:nvPr>
            <p:ph type="sldNum" sz="quarter" idx="20"/>
          </p:nvPr>
        </p:nvSpPr>
        <p:spPr/>
        <p:txBody>
          <a:bodyPr/>
          <a:lstStyle/>
          <a:p>
            <a:fld id="{E342E011-D739-4258-81A8-D148B475F0B5}" type="slidenum">
              <a:rPr lang="es-CO" smtClean="0"/>
              <a:t>29</a:t>
            </a:fld>
            <a:endParaRPr lang="es-CO" dirty="0"/>
          </a:p>
        </p:txBody>
      </p:sp>
      <p:pic>
        <p:nvPicPr>
          <p:cNvPr id="9" name="Imagen 8"/>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t="8465" r="2709" b="12696"/>
          <a:stretch/>
        </p:blipFill>
        <p:spPr>
          <a:xfrm>
            <a:off x="597044" y="1246910"/>
            <a:ext cx="7949912" cy="4831772"/>
          </a:xfrm>
          <a:prstGeom prst="rect">
            <a:avLst/>
          </a:prstGeom>
          <a:ln w="28575">
            <a:solidFill>
              <a:schemeClr val="tx1">
                <a:lumMod val="50000"/>
                <a:lumOff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613446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p:txBody>
          <a:bodyPr/>
          <a:lstStyle/>
          <a:p>
            <a:r>
              <a:rPr lang="es-CO" dirty="0"/>
              <a:t>Contenido</a:t>
            </a:r>
          </a:p>
        </p:txBody>
      </p:sp>
      <p:sp>
        <p:nvSpPr>
          <p:cNvPr id="6" name="Marcador de texto 5"/>
          <p:cNvSpPr>
            <a:spLocks noGrp="1"/>
          </p:cNvSpPr>
          <p:nvPr>
            <p:ph type="body" idx="15"/>
          </p:nvPr>
        </p:nvSpPr>
        <p:spPr/>
        <p:txBody>
          <a:bodyPr/>
          <a:lstStyle/>
          <a:p>
            <a:r>
              <a:rPr lang="es-CO" dirty="0"/>
              <a:t>Proyecto Hidroeléctrico Ituango</a:t>
            </a:r>
          </a:p>
        </p:txBody>
      </p:sp>
      <p:sp>
        <p:nvSpPr>
          <p:cNvPr id="7" name="Marcador de texto 6"/>
          <p:cNvSpPr>
            <a:spLocks noGrp="1"/>
          </p:cNvSpPr>
          <p:nvPr>
            <p:ph type="body" sz="quarter" idx="17"/>
          </p:nvPr>
        </p:nvSpPr>
        <p:spPr/>
        <p:txBody>
          <a:bodyPr anchor="t"/>
          <a:lstStyle/>
          <a:p>
            <a:pPr marL="722313" indent="-360363">
              <a:lnSpc>
                <a:spcPts val="5200"/>
              </a:lnSpc>
              <a:spcBef>
                <a:spcPts val="0"/>
              </a:spcBef>
              <a:buFont typeface="+mj-lt"/>
              <a:buAutoNum type="arabicPeriod"/>
            </a:pPr>
            <a:r>
              <a:rPr lang="es-CO" sz="2300" b="0" dirty="0">
                <a:solidFill>
                  <a:schemeClr val="tx1">
                    <a:lumMod val="90000"/>
                    <a:lumOff val="10000"/>
                  </a:schemeClr>
                </a:solidFill>
              </a:rPr>
              <a:t>Generalidades</a:t>
            </a:r>
          </a:p>
          <a:p>
            <a:pPr marL="722313" indent="-360363">
              <a:lnSpc>
                <a:spcPts val="5200"/>
              </a:lnSpc>
              <a:spcBef>
                <a:spcPts val="0"/>
              </a:spcBef>
              <a:buFont typeface="+mj-lt"/>
              <a:buAutoNum type="arabicPeriod"/>
            </a:pPr>
            <a:r>
              <a:rPr lang="es-CO" sz="2300" b="0" dirty="0">
                <a:solidFill>
                  <a:schemeClr val="tx1">
                    <a:lumMod val="90000"/>
                    <a:lumOff val="10000"/>
                  </a:schemeClr>
                </a:solidFill>
              </a:rPr>
              <a:t>Componente Ambiental</a:t>
            </a:r>
          </a:p>
          <a:p>
            <a:pPr marL="631825" indent="0">
              <a:lnSpc>
                <a:spcPts val="5200"/>
              </a:lnSpc>
              <a:spcBef>
                <a:spcPts val="0"/>
              </a:spcBef>
              <a:buNone/>
            </a:pPr>
            <a:r>
              <a:rPr lang="es-CO" sz="2300" b="0" dirty="0">
                <a:solidFill>
                  <a:schemeClr val="tx1">
                    <a:lumMod val="90000"/>
                    <a:lumOff val="10000"/>
                  </a:schemeClr>
                </a:solidFill>
              </a:rPr>
              <a:t>2.1 Origen de la Regla de Operación</a:t>
            </a:r>
          </a:p>
          <a:p>
            <a:pPr marL="631825" indent="0">
              <a:lnSpc>
                <a:spcPts val="5200"/>
              </a:lnSpc>
              <a:spcBef>
                <a:spcPts val="0"/>
              </a:spcBef>
              <a:buNone/>
            </a:pPr>
            <a:r>
              <a:rPr lang="es-CO" sz="2300" b="0" dirty="0">
                <a:solidFill>
                  <a:schemeClr val="tx1">
                    <a:lumMod val="90000"/>
                    <a:lumOff val="10000"/>
                  </a:schemeClr>
                </a:solidFill>
              </a:rPr>
              <a:t>2.2 Licencia Ambiental</a:t>
            </a:r>
          </a:p>
          <a:p>
            <a:pPr marL="722313" indent="-360363">
              <a:lnSpc>
                <a:spcPts val="5200"/>
              </a:lnSpc>
              <a:spcBef>
                <a:spcPts val="0"/>
              </a:spcBef>
              <a:buFont typeface="+mj-lt"/>
              <a:buAutoNum type="arabicPeriod" startAt="3"/>
            </a:pPr>
            <a:r>
              <a:rPr lang="es-CO" sz="2300" b="0" dirty="0">
                <a:solidFill>
                  <a:schemeClr val="tx1">
                    <a:lumMod val="90000"/>
                    <a:lumOff val="10000"/>
                  </a:schemeClr>
                </a:solidFill>
              </a:rPr>
              <a:t>Operación del Proyecto</a:t>
            </a:r>
          </a:p>
          <a:p>
            <a:pPr marL="722313" indent="-360363">
              <a:lnSpc>
                <a:spcPts val="5200"/>
              </a:lnSpc>
              <a:spcBef>
                <a:spcPts val="0"/>
              </a:spcBef>
              <a:buFont typeface="+mj-lt"/>
              <a:buAutoNum type="arabicPeriod" startAt="3"/>
            </a:pPr>
            <a:r>
              <a:rPr lang="es-CO" sz="2300" b="0" dirty="0">
                <a:solidFill>
                  <a:schemeClr val="tx1">
                    <a:lumMod val="90000"/>
                    <a:lumOff val="10000"/>
                  </a:schemeClr>
                </a:solidFill>
              </a:rPr>
              <a:t>Conclusiones</a:t>
            </a:r>
          </a:p>
        </p:txBody>
      </p:sp>
    </p:spTree>
    <p:extLst>
      <p:ext uri="{BB962C8B-B14F-4D97-AF65-F5344CB8AC3E}">
        <p14:creationId xmlns:p14="http://schemas.microsoft.com/office/powerpoint/2010/main" val="19681374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EFF855CA-B214-4F92-B008-BDED4569F40B}"/>
              </a:ext>
            </a:extLst>
          </p:cNvPr>
          <p:cNvSpPr txBox="1">
            <a:spLocks/>
          </p:cNvSpPr>
          <p:nvPr/>
        </p:nvSpPr>
        <p:spPr>
          <a:xfrm>
            <a:off x="517358" y="247174"/>
            <a:ext cx="7206915" cy="474302"/>
          </a:xfrm>
          <a:prstGeom prst="rect">
            <a:avLst/>
          </a:prstGeom>
        </p:spPr>
        <p:txBody>
          <a:bodyPr>
            <a:noAutofit/>
          </a:bodyPr>
          <a:lstStyle>
            <a:lvl1pPr algn="l" defTabSz="914400" rtl="0" eaLnBrk="1" latinLnBrk="0" hangingPunct="1">
              <a:spcBef>
                <a:spcPct val="0"/>
              </a:spcBef>
              <a:buNone/>
              <a:defRPr sz="2800" b="1" kern="1200">
                <a:solidFill>
                  <a:srgbClr val="007934"/>
                </a:solidFill>
                <a:latin typeface="Trebuchet MS" pitchFamily="34" charset="0"/>
                <a:ea typeface="+mj-ea"/>
                <a:cs typeface="+mj-cs"/>
              </a:defRPr>
            </a:lvl1pPr>
          </a:lstStyle>
          <a:p>
            <a:pPr algn="ctr"/>
            <a:r>
              <a:rPr lang="es-CO" dirty="0"/>
              <a:t>SIMULACIÓN DEL CUMPLIMIENTO DE LA REGLA DE OPERACIÓN </a:t>
            </a:r>
          </a:p>
        </p:txBody>
      </p:sp>
      <p:pic>
        <p:nvPicPr>
          <p:cNvPr id="2" name="Imagen 1">
            <a:extLst>
              <a:ext uri="{FF2B5EF4-FFF2-40B4-BE49-F238E27FC236}">
                <a16:creationId xmlns:a16="http://schemas.microsoft.com/office/drawing/2014/main" id="{59AA4912-4771-4001-8A17-FFB379C65D54}"/>
              </a:ext>
            </a:extLst>
          </p:cNvPr>
          <p:cNvPicPr>
            <a:picLocks noChangeAspect="1"/>
          </p:cNvPicPr>
          <p:nvPr/>
        </p:nvPicPr>
        <p:blipFill>
          <a:blip r:embed="rId2"/>
          <a:stretch>
            <a:fillRect/>
          </a:stretch>
        </p:blipFill>
        <p:spPr>
          <a:xfrm>
            <a:off x="2270560" y="1694518"/>
            <a:ext cx="4884620" cy="4249082"/>
          </a:xfrm>
          <a:prstGeom prst="rect">
            <a:avLst/>
          </a:prstGeom>
        </p:spPr>
      </p:pic>
    </p:spTree>
    <p:extLst>
      <p:ext uri="{BB962C8B-B14F-4D97-AF65-F5344CB8AC3E}">
        <p14:creationId xmlns:p14="http://schemas.microsoft.com/office/powerpoint/2010/main" val="170257977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57200" y="3075057"/>
            <a:ext cx="7962900" cy="707886"/>
          </a:xfrm>
        </p:spPr>
        <p:txBody>
          <a:bodyPr/>
          <a:lstStyle/>
          <a:p>
            <a:pPr marL="742950" indent="-742950">
              <a:buFont typeface="+mj-lt"/>
              <a:buAutoNum type="arabicPeriod" startAt="4"/>
            </a:pPr>
            <a:r>
              <a:rPr lang="es-CO" dirty="0">
                <a:effectLst>
                  <a:outerShdw blurRad="38100" dist="38100" dir="2700000" algn="tl">
                    <a:srgbClr val="000000">
                      <a:alpha val="43137"/>
                    </a:srgbClr>
                  </a:outerShdw>
                </a:effectLst>
              </a:rPr>
              <a:t>CONCLUSIONES</a:t>
            </a:r>
          </a:p>
        </p:txBody>
      </p:sp>
    </p:spTree>
    <p:extLst>
      <p:ext uri="{BB962C8B-B14F-4D97-AF65-F5344CB8AC3E}">
        <p14:creationId xmlns:p14="http://schemas.microsoft.com/office/powerpoint/2010/main" val="637385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idx="13"/>
          </p:nvPr>
        </p:nvSpPr>
        <p:spPr/>
        <p:txBody>
          <a:bodyPr/>
          <a:lstStyle/>
          <a:p>
            <a:r>
              <a:rPr lang="es-CO" dirty="0"/>
              <a:t>Proyecto Hidroeléctrico Ituango</a:t>
            </a:r>
          </a:p>
        </p:txBody>
      </p:sp>
      <p:sp>
        <p:nvSpPr>
          <p:cNvPr id="3" name="Marcador de texto 2"/>
          <p:cNvSpPr>
            <a:spLocks noGrp="1"/>
          </p:cNvSpPr>
          <p:nvPr>
            <p:ph type="body" idx="14"/>
          </p:nvPr>
        </p:nvSpPr>
        <p:spPr/>
        <p:txBody>
          <a:bodyPr/>
          <a:lstStyle/>
          <a:p>
            <a:pPr marL="514350" indent="-514350">
              <a:buFont typeface="+mj-lt"/>
              <a:buAutoNum type="arabicPeriod" startAt="4"/>
            </a:pPr>
            <a:r>
              <a:rPr lang="es-CO" dirty="0"/>
              <a:t>Conclusiones</a:t>
            </a:r>
          </a:p>
        </p:txBody>
      </p:sp>
      <p:sp>
        <p:nvSpPr>
          <p:cNvPr id="4" name="Marcador de texto 3"/>
          <p:cNvSpPr>
            <a:spLocks noGrp="1"/>
          </p:cNvSpPr>
          <p:nvPr>
            <p:ph type="body" sz="quarter" idx="19"/>
          </p:nvPr>
        </p:nvSpPr>
        <p:spPr/>
        <p:txBody>
          <a:bodyPr/>
          <a:lstStyle/>
          <a:p>
            <a:pPr marL="285750" indent="-285750">
              <a:lnSpc>
                <a:spcPts val="2700"/>
              </a:lnSpc>
              <a:spcBef>
                <a:spcPts val="0"/>
              </a:spcBef>
              <a:spcAft>
                <a:spcPts val="1800"/>
              </a:spcAft>
              <a:buFont typeface="Wingdings" panose="05000000000000000000" pitchFamily="2" charset="2"/>
              <a:buChar char="§"/>
            </a:pPr>
            <a:r>
              <a:rPr lang="es-ES" sz="1800" dirty="0">
                <a:solidFill>
                  <a:schemeClr val="tx1">
                    <a:lumMod val="90000"/>
                    <a:lumOff val="10000"/>
                  </a:schemeClr>
                </a:solidFill>
              </a:rPr>
              <a:t>La Regla de Operación del proyecto busca generar en el río variaciones diarias de caudales y niveles similares a las presentadas históricamente. Para lograr este propósito la regla de operación impone una serie de restricciones a la operación de la Central Hidroeléctrica Ituango que hacen necesario presentarlas ante el C.N.O para su análisis. </a:t>
            </a:r>
          </a:p>
          <a:p>
            <a:pPr marL="285750" indent="-285750">
              <a:lnSpc>
                <a:spcPts val="2700"/>
              </a:lnSpc>
              <a:spcBef>
                <a:spcPts val="0"/>
              </a:spcBef>
              <a:spcAft>
                <a:spcPts val="1800"/>
              </a:spcAft>
              <a:buFont typeface="Wingdings" panose="05000000000000000000" pitchFamily="2" charset="2"/>
              <a:buChar char="§"/>
            </a:pPr>
            <a:r>
              <a:rPr lang="es-ES" sz="1800" dirty="0">
                <a:solidFill>
                  <a:schemeClr val="tx1">
                    <a:lumMod val="90000"/>
                    <a:lumOff val="10000"/>
                  </a:schemeClr>
                </a:solidFill>
              </a:rPr>
              <a:t>Dadas estas restricciones se identifica la necesidad de gestionar ante el C.N.O, siguiendo el debido proceso,  la aprobación de unos mínimos obligatorios fundamentados en la Licencia Ambiental, los cuales, de acuerdo a las simulaciones hidrológicas,  entrarían en aplicación a partir de la entrada en operación de la tercera unidad.</a:t>
            </a:r>
          </a:p>
          <a:p>
            <a:pPr>
              <a:lnSpc>
                <a:spcPts val="2700"/>
              </a:lnSpc>
              <a:spcBef>
                <a:spcPts val="0"/>
              </a:spcBef>
            </a:pPr>
            <a:endParaRPr lang="es-CO" sz="1800" dirty="0">
              <a:solidFill>
                <a:schemeClr val="tx1">
                  <a:lumMod val="90000"/>
                  <a:lumOff val="10000"/>
                </a:schemeClr>
              </a:solidFill>
            </a:endParaRPr>
          </a:p>
        </p:txBody>
      </p:sp>
      <p:sp>
        <p:nvSpPr>
          <p:cNvPr id="5" name="Marcador de número de diapositiva 4"/>
          <p:cNvSpPr>
            <a:spLocks noGrp="1"/>
          </p:cNvSpPr>
          <p:nvPr>
            <p:ph type="sldNum" sz="quarter" idx="20"/>
          </p:nvPr>
        </p:nvSpPr>
        <p:spPr/>
        <p:txBody>
          <a:bodyPr/>
          <a:lstStyle/>
          <a:p>
            <a:fld id="{E342E011-D739-4258-81A8-D148B475F0B5}" type="slidenum">
              <a:rPr lang="es-CO" smtClean="0"/>
              <a:t>32</a:t>
            </a:fld>
            <a:endParaRPr lang="es-CO" dirty="0"/>
          </a:p>
        </p:txBody>
      </p:sp>
    </p:spTree>
    <p:extLst>
      <p:ext uri="{BB962C8B-B14F-4D97-AF65-F5344CB8AC3E}">
        <p14:creationId xmlns:p14="http://schemas.microsoft.com/office/powerpoint/2010/main" val="12241832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p:cNvSpPr>
            <a:spLocks noGrp="1"/>
          </p:cNvSpPr>
          <p:nvPr>
            <p:ph type="sldNum" sz="quarter" idx="4294967295"/>
          </p:nvPr>
        </p:nvSpPr>
        <p:spPr>
          <a:xfrm>
            <a:off x="7010400" y="6356350"/>
            <a:ext cx="2133600" cy="365125"/>
          </a:xfrm>
          <a:prstGeom prst="rect">
            <a:avLst/>
          </a:prstGeom>
        </p:spPr>
        <p:txBody>
          <a:bodyPr/>
          <a:lstStyle/>
          <a:p>
            <a:fld id="{E342E011-D739-4258-81A8-D148B475F0B5}" type="slidenum">
              <a:rPr lang="es-CO" smtClean="0"/>
              <a:t>33</a:t>
            </a:fld>
            <a:endParaRPr lang="es-CO" dirty="0"/>
          </a:p>
        </p:txBody>
      </p:sp>
      <p:pic>
        <p:nvPicPr>
          <p:cNvPr id="6" name="Picture 4" descr="Imagen relacionada">
            <a:extLst>
              <a:ext uri="{FF2B5EF4-FFF2-40B4-BE49-F238E27FC236}">
                <a16:creationId xmlns:a16="http://schemas.microsoft.com/office/drawing/2014/main" id="{35E2BA6B-50A9-498A-AD3B-0B4771B4CBD0}"/>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3811" y="1"/>
            <a:ext cx="9136379" cy="6857999"/>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D5950BA2-D551-49DB-B544-6734A707EAEE}"/>
              </a:ext>
            </a:extLst>
          </p:cNvPr>
          <p:cNvSpPr txBox="1"/>
          <p:nvPr/>
        </p:nvSpPr>
        <p:spPr>
          <a:xfrm>
            <a:off x="1983984" y="0"/>
            <a:ext cx="5176032" cy="923330"/>
          </a:xfrm>
          <a:prstGeom prst="rect">
            <a:avLst/>
          </a:prstGeom>
        </p:spPr>
        <p:txBody>
          <a:bodyPr wrap="squar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s-CO" sz="5400" b="1" i="0" u="none" strike="noStrike" kern="1200" cap="none" spc="600" normalizeH="0" baseline="0" noProof="0" dirty="0">
                <a:ln>
                  <a:noFill/>
                </a:ln>
                <a:solidFill>
                  <a:schemeClr val="bg2"/>
                </a:solidFill>
                <a:effectLst/>
                <a:uLnTx/>
                <a:uFillTx/>
                <a:latin typeface="Trebuchet MS" panose="020B0603020202020204" pitchFamily="34" charset="0"/>
                <a:ea typeface="+mj-ea"/>
                <a:cs typeface="+mj-cs"/>
              </a:rPr>
              <a:t>GRACIAS</a:t>
            </a:r>
          </a:p>
        </p:txBody>
      </p:sp>
    </p:spTree>
    <p:extLst>
      <p:ext uri="{BB962C8B-B14F-4D97-AF65-F5344CB8AC3E}">
        <p14:creationId xmlns:p14="http://schemas.microsoft.com/office/powerpoint/2010/main" val="618854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57200" y="3075057"/>
            <a:ext cx="7962900" cy="707886"/>
          </a:xfrm>
        </p:spPr>
        <p:txBody>
          <a:bodyPr/>
          <a:lstStyle/>
          <a:p>
            <a:pPr marL="742950" indent="-742950">
              <a:buFont typeface="+mj-lt"/>
              <a:buAutoNum type="arabicPeriod"/>
            </a:pPr>
            <a:r>
              <a:rPr lang="es-CO" dirty="0">
                <a:effectLst>
                  <a:outerShdw blurRad="38100" dist="38100" dir="2700000" algn="tl">
                    <a:srgbClr val="000000">
                      <a:alpha val="43137"/>
                    </a:srgbClr>
                  </a:outerShdw>
                </a:effectLst>
              </a:rPr>
              <a:t>GENERALIDADES</a:t>
            </a:r>
          </a:p>
        </p:txBody>
      </p:sp>
    </p:spTree>
    <p:extLst>
      <p:ext uri="{BB962C8B-B14F-4D97-AF65-F5344CB8AC3E}">
        <p14:creationId xmlns:p14="http://schemas.microsoft.com/office/powerpoint/2010/main" val="3013134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idx="13"/>
          </p:nvPr>
        </p:nvSpPr>
        <p:spPr/>
        <p:txBody>
          <a:bodyPr/>
          <a:lstStyle/>
          <a:p>
            <a:r>
              <a:rPr lang="es-CO" dirty="0"/>
              <a:t>Proyecto Hidroeléctrico Ituango</a:t>
            </a:r>
          </a:p>
        </p:txBody>
      </p:sp>
      <p:sp>
        <p:nvSpPr>
          <p:cNvPr id="6" name="Marcador de texto 5"/>
          <p:cNvSpPr>
            <a:spLocks noGrp="1"/>
          </p:cNvSpPr>
          <p:nvPr>
            <p:ph type="body" idx="14"/>
          </p:nvPr>
        </p:nvSpPr>
        <p:spPr>
          <a:xfrm>
            <a:off x="466725" y="608502"/>
            <a:ext cx="7932338" cy="432048"/>
          </a:xfrm>
        </p:spPr>
        <p:txBody>
          <a:bodyPr/>
          <a:lstStyle/>
          <a:p>
            <a:pPr marL="514350" indent="-514350">
              <a:buFont typeface="+mj-lt"/>
              <a:buAutoNum type="arabicPeriod"/>
            </a:pPr>
            <a:r>
              <a:rPr lang="es-CO" dirty="0"/>
              <a:t>Generalidades</a:t>
            </a:r>
          </a:p>
        </p:txBody>
      </p:sp>
      <p:sp>
        <p:nvSpPr>
          <p:cNvPr id="7" name="Marcador de texto 6"/>
          <p:cNvSpPr>
            <a:spLocks noGrp="1"/>
          </p:cNvSpPr>
          <p:nvPr>
            <p:ph type="body" idx="15"/>
          </p:nvPr>
        </p:nvSpPr>
        <p:spPr/>
        <p:txBody>
          <a:bodyPr/>
          <a:lstStyle/>
          <a:p>
            <a:r>
              <a:rPr lang="es-CO" dirty="0"/>
              <a:t>Localización del Proyecto</a:t>
            </a:r>
          </a:p>
        </p:txBody>
      </p:sp>
      <p:sp>
        <p:nvSpPr>
          <p:cNvPr id="5" name="Marcador de número de diapositiva 4"/>
          <p:cNvSpPr>
            <a:spLocks noGrp="1"/>
          </p:cNvSpPr>
          <p:nvPr>
            <p:ph type="sldNum" sz="quarter" idx="19"/>
          </p:nvPr>
        </p:nvSpPr>
        <p:spPr/>
        <p:txBody>
          <a:bodyPr/>
          <a:lstStyle/>
          <a:p>
            <a:fld id="{E342E011-D739-4258-81A8-D148B475F0B5}" type="slidenum">
              <a:rPr lang="es-CO" smtClean="0"/>
              <a:t>5</a:t>
            </a:fld>
            <a:endParaRPr lang="es-CO" dirty="0"/>
          </a:p>
        </p:txBody>
      </p:sp>
      <p:pic>
        <p:nvPicPr>
          <p:cNvPr id="9" name="Picture 148"/>
          <p:cNvPicPr>
            <a:picLocks noChangeAspect="1" noChangeArrowheads="1"/>
          </p:cNvPicPr>
          <p:nvPr/>
        </p:nvPicPr>
        <p:blipFill>
          <a:blip r:embed="rId4" cstate="print"/>
          <a:srcRect/>
          <a:stretch>
            <a:fillRect/>
          </a:stretch>
        </p:blipFill>
        <p:spPr bwMode="auto">
          <a:xfrm>
            <a:off x="466725" y="1730200"/>
            <a:ext cx="3558368" cy="3636948"/>
          </a:xfrm>
          <a:prstGeom prst="rect">
            <a:avLst/>
          </a:prstGeom>
          <a:noFill/>
          <a:ln w="28575">
            <a:solidFill>
              <a:schemeClr val="accent3">
                <a:lumMod val="75000"/>
              </a:schemeClr>
            </a:solidFill>
            <a:miter lim="800000"/>
            <a:headEnd/>
            <a:tailEnd/>
          </a:ln>
        </p:spPr>
      </p:pic>
      <p:grpSp>
        <p:nvGrpSpPr>
          <p:cNvPr id="542" name="Grupo 541"/>
          <p:cNvGrpSpPr/>
          <p:nvPr/>
        </p:nvGrpSpPr>
        <p:grpSpPr>
          <a:xfrm>
            <a:off x="3758152" y="589435"/>
            <a:ext cx="5357826" cy="6187753"/>
            <a:chOff x="3758152" y="589435"/>
            <a:chExt cx="5357826" cy="6187753"/>
          </a:xfrm>
        </p:grpSpPr>
        <p:grpSp>
          <p:nvGrpSpPr>
            <p:cNvPr id="409" name="Group 11"/>
            <p:cNvGrpSpPr>
              <a:grpSpLocks/>
            </p:cNvGrpSpPr>
            <p:nvPr/>
          </p:nvGrpSpPr>
          <p:grpSpPr bwMode="auto">
            <a:xfrm>
              <a:off x="3758152" y="589435"/>
              <a:ext cx="5357826" cy="6187753"/>
              <a:chOff x="960" y="242"/>
              <a:chExt cx="3717" cy="3529"/>
            </a:xfrm>
          </p:grpSpPr>
          <p:sp>
            <p:nvSpPr>
              <p:cNvPr id="410" name="Rectangle 12"/>
              <p:cNvSpPr>
                <a:spLocks noChangeArrowheads="1"/>
              </p:cNvSpPr>
              <p:nvPr/>
            </p:nvSpPr>
            <p:spPr bwMode="auto">
              <a:xfrm rot="5400000">
                <a:off x="2138" y="3496"/>
                <a:ext cx="415"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CALI</a:t>
                </a:r>
              </a:p>
            </p:txBody>
          </p:sp>
          <p:sp>
            <p:nvSpPr>
              <p:cNvPr id="411" name="Rectangle 13"/>
              <p:cNvSpPr>
                <a:spLocks noChangeArrowheads="1"/>
              </p:cNvSpPr>
              <p:nvPr/>
            </p:nvSpPr>
            <p:spPr bwMode="auto">
              <a:xfrm rot="5400000">
                <a:off x="2129" y="3494"/>
                <a:ext cx="415"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CALI</a:t>
                </a:r>
              </a:p>
            </p:txBody>
          </p:sp>
          <p:graphicFrame>
            <p:nvGraphicFramePr>
              <p:cNvPr id="412" name="Object 2"/>
              <p:cNvGraphicFramePr>
                <a:graphicFrameLocks noChangeAspect="1"/>
              </p:cNvGraphicFramePr>
              <p:nvPr/>
            </p:nvGraphicFramePr>
            <p:xfrm>
              <a:off x="1377" y="242"/>
              <a:ext cx="3114" cy="3423"/>
            </p:xfrm>
            <a:graphic>
              <a:graphicData uri="http://schemas.openxmlformats.org/presentationml/2006/ole">
                <mc:AlternateContent xmlns:mc="http://schemas.openxmlformats.org/markup-compatibility/2006">
                  <mc:Choice xmlns:v="urn:schemas-microsoft-com:vml" Requires="v">
                    <p:oleObj spid="_x0000_s4266" r:id="rId5" imgW="7104762" imgH="10352381" progId="PBrush">
                      <p:embed/>
                    </p:oleObj>
                  </mc:Choice>
                  <mc:Fallback>
                    <p:oleObj r:id="rId5" imgW="7104762" imgH="10352381" progId="PBrush">
                      <p:embed/>
                      <p:pic>
                        <p:nvPicPr>
                          <p:cNvPr id="13332" name="Object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77" y="242"/>
                            <a:ext cx="3114" cy="3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pic>
                    </p:oleObj>
                  </mc:Fallback>
                </mc:AlternateContent>
              </a:graphicData>
            </a:graphic>
          </p:graphicFrame>
          <p:sp>
            <p:nvSpPr>
              <p:cNvPr id="413" name="Line 15"/>
              <p:cNvSpPr>
                <a:spLocks noChangeShapeType="1"/>
              </p:cNvSpPr>
              <p:nvPr/>
            </p:nvSpPr>
            <p:spPr bwMode="auto">
              <a:xfrm flipH="1">
                <a:off x="2720" y="674"/>
                <a:ext cx="98" cy="1"/>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14" name="Line 16"/>
              <p:cNvSpPr>
                <a:spLocks noChangeShapeType="1"/>
              </p:cNvSpPr>
              <p:nvPr/>
            </p:nvSpPr>
            <p:spPr bwMode="auto">
              <a:xfrm>
                <a:off x="2817" y="674"/>
                <a:ext cx="288" cy="288"/>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15" name="Rectangle 18"/>
              <p:cNvSpPr>
                <a:spLocks noChangeArrowheads="1"/>
              </p:cNvSpPr>
              <p:nvPr/>
            </p:nvSpPr>
            <p:spPr bwMode="auto">
              <a:xfrm>
                <a:off x="3332" y="3475"/>
                <a:ext cx="681" cy="154"/>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625"/>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1000" b="1" i="0" u="none" strike="noStrike" kern="0" cap="none" spc="0" normalizeH="0" baseline="0" noProof="0">
                    <a:ln>
                      <a:noFill/>
                    </a:ln>
                    <a:solidFill>
                      <a:srgbClr val="000000"/>
                    </a:solidFill>
                    <a:effectLst/>
                    <a:uLnTx/>
                    <a:uFillTx/>
                    <a:latin typeface="Times New Roman" pitchFamily="18" charset="0"/>
                  </a:rPr>
                  <a:t>MEDELLÍN </a:t>
                </a:r>
              </a:p>
            </p:txBody>
          </p:sp>
          <p:sp>
            <p:nvSpPr>
              <p:cNvPr id="416" name="Rectangle 19"/>
              <p:cNvSpPr>
                <a:spLocks noChangeArrowheads="1"/>
              </p:cNvSpPr>
              <p:nvPr/>
            </p:nvSpPr>
            <p:spPr bwMode="auto">
              <a:xfrm>
                <a:off x="2198" y="799"/>
                <a:ext cx="635" cy="154"/>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625"/>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1000" b="1" i="0" u="none" strike="noStrike" kern="0" cap="none" spc="0" normalizeH="0" baseline="0" noProof="0">
                    <a:ln>
                      <a:noFill/>
                    </a:ln>
                    <a:solidFill>
                      <a:srgbClr val="000000"/>
                    </a:solidFill>
                    <a:effectLst/>
                    <a:uLnTx/>
                    <a:uFillTx/>
                    <a:latin typeface="Times New Roman" pitchFamily="18" charset="0"/>
                  </a:rPr>
                  <a:t>ITUANGO </a:t>
                </a:r>
              </a:p>
            </p:txBody>
          </p:sp>
          <p:sp>
            <p:nvSpPr>
              <p:cNvPr id="417" name="Line 20"/>
              <p:cNvSpPr>
                <a:spLocks noChangeShapeType="1"/>
              </p:cNvSpPr>
              <p:nvPr/>
            </p:nvSpPr>
            <p:spPr bwMode="auto">
              <a:xfrm>
                <a:off x="1926" y="1071"/>
                <a:ext cx="272" cy="1"/>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18" name="Line 21"/>
              <p:cNvSpPr>
                <a:spLocks noChangeShapeType="1"/>
              </p:cNvSpPr>
              <p:nvPr/>
            </p:nvSpPr>
            <p:spPr bwMode="auto">
              <a:xfrm>
                <a:off x="2198" y="1071"/>
                <a:ext cx="386" cy="240"/>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19" name="Line 22"/>
              <p:cNvSpPr>
                <a:spLocks noChangeShapeType="1"/>
              </p:cNvSpPr>
              <p:nvPr/>
            </p:nvSpPr>
            <p:spPr bwMode="auto">
              <a:xfrm>
                <a:off x="2198" y="2794"/>
                <a:ext cx="96" cy="1"/>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20" name="Line 23"/>
              <p:cNvSpPr>
                <a:spLocks noChangeShapeType="1"/>
              </p:cNvSpPr>
              <p:nvPr/>
            </p:nvSpPr>
            <p:spPr bwMode="auto">
              <a:xfrm flipV="1">
                <a:off x="2289" y="2748"/>
                <a:ext cx="277" cy="46"/>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21" name="Line 24"/>
              <p:cNvSpPr>
                <a:spLocks noChangeShapeType="1"/>
              </p:cNvSpPr>
              <p:nvPr/>
            </p:nvSpPr>
            <p:spPr bwMode="auto">
              <a:xfrm>
                <a:off x="2243" y="3067"/>
                <a:ext cx="720" cy="192"/>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22" name="Rectangle 25"/>
              <p:cNvSpPr>
                <a:spLocks noChangeArrowheads="1"/>
              </p:cNvSpPr>
              <p:nvPr/>
            </p:nvSpPr>
            <p:spPr bwMode="auto">
              <a:xfrm>
                <a:off x="2697" y="2658"/>
                <a:ext cx="1280" cy="154"/>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625"/>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1000" b="1" i="0" u="none" strike="noStrike" kern="0" cap="none" spc="0" normalizeH="0" baseline="0" noProof="0">
                    <a:ln>
                      <a:noFill/>
                    </a:ln>
                    <a:solidFill>
                      <a:srgbClr val="000000"/>
                    </a:solidFill>
                    <a:effectLst/>
                    <a:uLnTx/>
                    <a:uFillTx/>
                    <a:latin typeface="Times New Roman" pitchFamily="18" charset="0"/>
                  </a:rPr>
                  <a:t>PUENTE DE OCCIDENTE </a:t>
                </a:r>
              </a:p>
            </p:txBody>
          </p:sp>
          <p:sp>
            <p:nvSpPr>
              <p:cNvPr id="423" name="Line 26"/>
              <p:cNvSpPr>
                <a:spLocks noChangeShapeType="1"/>
              </p:cNvSpPr>
              <p:nvPr/>
            </p:nvSpPr>
            <p:spPr bwMode="auto">
              <a:xfrm flipH="1">
                <a:off x="2746" y="2757"/>
                <a:ext cx="98" cy="1"/>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24" name="Line 27"/>
              <p:cNvSpPr>
                <a:spLocks noChangeShapeType="1"/>
              </p:cNvSpPr>
              <p:nvPr/>
            </p:nvSpPr>
            <p:spPr bwMode="auto">
              <a:xfrm flipH="1" flipV="1">
                <a:off x="2650" y="2567"/>
                <a:ext cx="98" cy="191"/>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25" name="Rectangle 28"/>
              <p:cNvSpPr>
                <a:spLocks noChangeArrowheads="1"/>
              </p:cNvSpPr>
              <p:nvPr/>
            </p:nvSpPr>
            <p:spPr bwMode="auto">
              <a:xfrm>
                <a:off x="3241" y="1252"/>
                <a:ext cx="1280" cy="154"/>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625"/>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1000" b="1" i="0" u="none" strike="noStrike" kern="0" cap="none" spc="0" normalizeH="0" baseline="0" noProof="0" dirty="0">
                    <a:ln>
                      <a:noFill/>
                    </a:ln>
                    <a:solidFill>
                      <a:srgbClr val="000000"/>
                    </a:solidFill>
                    <a:effectLst/>
                    <a:uLnTx/>
                    <a:uFillTx/>
                    <a:latin typeface="Times New Roman" pitchFamily="18" charset="0"/>
                  </a:rPr>
                  <a:t>PUENTE PESCADERO </a:t>
                </a:r>
              </a:p>
            </p:txBody>
          </p:sp>
          <p:sp>
            <p:nvSpPr>
              <p:cNvPr id="426" name="Rectangle 29"/>
              <p:cNvSpPr>
                <a:spLocks noChangeArrowheads="1"/>
              </p:cNvSpPr>
              <p:nvPr/>
            </p:nvSpPr>
            <p:spPr bwMode="auto">
              <a:xfrm>
                <a:off x="1600" y="1977"/>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CAÑASGORDAS</a:t>
                </a:r>
              </a:p>
            </p:txBody>
          </p:sp>
          <p:sp>
            <p:nvSpPr>
              <p:cNvPr id="427" name="Rectangle 30"/>
              <p:cNvSpPr>
                <a:spLocks noChangeArrowheads="1"/>
              </p:cNvSpPr>
              <p:nvPr/>
            </p:nvSpPr>
            <p:spPr bwMode="auto">
              <a:xfrm>
                <a:off x="3809" y="802"/>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VALDIVIA</a:t>
                </a:r>
              </a:p>
            </p:txBody>
          </p:sp>
          <p:sp>
            <p:nvSpPr>
              <p:cNvPr id="428" name="Rectangle 31"/>
              <p:cNvSpPr>
                <a:spLocks noChangeArrowheads="1"/>
              </p:cNvSpPr>
              <p:nvPr/>
            </p:nvSpPr>
            <p:spPr bwMode="auto">
              <a:xfrm>
                <a:off x="2441" y="1296"/>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TOLEDO</a:t>
                </a:r>
              </a:p>
            </p:txBody>
          </p:sp>
          <p:sp>
            <p:nvSpPr>
              <p:cNvPr id="429" name="Rectangle 32"/>
              <p:cNvSpPr>
                <a:spLocks noChangeArrowheads="1"/>
              </p:cNvSpPr>
              <p:nvPr/>
            </p:nvSpPr>
            <p:spPr bwMode="auto">
              <a:xfrm>
                <a:off x="2961" y="1538"/>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SAN ANDRES</a:t>
                </a:r>
              </a:p>
            </p:txBody>
          </p:sp>
          <p:sp>
            <p:nvSpPr>
              <p:cNvPr id="430" name="Rectangle 33"/>
              <p:cNvSpPr>
                <a:spLocks noChangeArrowheads="1"/>
              </p:cNvSpPr>
              <p:nvPr/>
            </p:nvSpPr>
            <p:spPr bwMode="auto">
              <a:xfrm>
                <a:off x="3493" y="428"/>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PTO. VALDIVIA</a:t>
                </a:r>
              </a:p>
            </p:txBody>
          </p:sp>
          <p:sp>
            <p:nvSpPr>
              <p:cNvPr id="431" name="Rectangle 34"/>
              <p:cNvSpPr>
                <a:spLocks noChangeArrowheads="1"/>
              </p:cNvSpPr>
              <p:nvPr/>
            </p:nvSpPr>
            <p:spPr bwMode="auto">
              <a:xfrm>
                <a:off x="3925" y="1476"/>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YARUMAL</a:t>
                </a:r>
              </a:p>
            </p:txBody>
          </p:sp>
          <p:sp>
            <p:nvSpPr>
              <p:cNvPr id="432" name="Rectangle 35"/>
              <p:cNvSpPr>
                <a:spLocks noChangeArrowheads="1"/>
              </p:cNvSpPr>
              <p:nvPr/>
            </p:nvSpPr>
            <p:spPr bwMode="auto">
              <a:xfrm>
                <a:off x="2172" y="3263"/>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EBEJICO</a:t>
                </a:r>
              </a:p>
            </p:txBody>
          </p:sp>
          <p:sp>
            <p:nvSpPr>
              <p:cNvPr id="433" name="Rectangle 36"/>
              <p:cNvSpPr>
                <a:spLocks noChangeArrowheads="1"/>
              </p:cNvSpPr>
              <p:nvPr/>
            </p:nvSpPr>
            <p:spPr bwMode="auto">
              <a:xfrm>
                <a:off x="1831" y="3167"/>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ANZA</a:t>
                </a:r>
              </a:p>
            </p:txBody>
          </p:sp>
          <p:sp>
            <p:nvSpPr>
              <p:cNvPr id="434" name="Rectangle 37"/>
              <p:cNvSpPr>
                <a:spLocks noChangeArrowheads="1"/>
              </p:cNvSpPr>
              <p:nvPr/>
            </p:nvSpPr>
            <p:spPr bwMode="auto">
              <a:xfrm>
                <a:off x="3713" y="2242"/>
                <a:ext cx="752" cy="212"/>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STA. ROSA </a:t>
                </a:r>
              </a:p>
              <a:p>
                <a:pPr marL="0" marR="0" lvl="0" indent="0" algn="ctr" defTabSz="914400" eaLnBrk="0" fontAlgn="auto" latinLnBrk="0" hangingPunct="0">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DE OSOS</a:t>
                </a:r>
              </a:p>
            </p:txBody>
          </p:sp>
          <p:sp>
            <p:nvSpPr>
              <p:cNvPr id="435" name="Rectangle 38"/>
              <p:cNvSpPr>
                <a:spLocks noChangeArrowheads="1"/>
              </p:cNvSpPr>
              <p:nvPr/>
            </p:nvSpPr>
            <p:spPr bwMode="auto">
              <a:xfrm>
                <a:off x="3368" y="2947"/>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SAN  PEDRO</a:t>
                </a:r>
              </a:p>
            </p:txBody>
          </p:sp>
          <p:sp>
            <p:nvSpPr>
              <p:cNvPr id="436" name="Rectangle 39"/>
              <p:cNvSpPr>
                <a:spLocks noChangeArrowheads="1"/>
              </p:cNvSpPr>
              <p:nvPr/>
            </p:nvSpPr>
            <p:spPr bwMode="auto">
              <a:xfrm>
                <a:off x="3609" y="3209"/>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COPACABANA</a:t>
                </a:r>
              </a:p>
            </p:txBody>
          </p:sp>
          <p:sp>
            <p:nvSpPr>
              <p:cNvPr id="437" name="Rectangle 40"/>
              <p:cNvSpPr>
                <a:spLocks noChangeArrowheads="1"/>
              </p:cNvSpPr>
              <p:nvPr/>
            </p:nvSpPr>
            <p:spPr bwMode="auto">
              <a:xfrm>
                <a:off x="3799" y="3114"/>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GIRARDOTA</a:t>
                </a:r>
              </a:p>
            </p:txBody>
          </p:sp>
          <p:sp>
            <p:nvSpPr>
              <p:cNvPr id="438" name="Rectangle 41"/>
              <p:cNvSpPr>
                <a:spLocks noChangeArrowheads="1"/>
              </p:cNvSpPr>
              <p:nvPr/>
            </p:nvSpPr>
            <p:spPr bwMode="auto">
              <a:xfrm>
                <a:off x="3733" y="3419"/>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GUARNE</a:t>
                </a:r>
              </a:p>
            </p:txBody>
          </p:sp>
          <p:sp>
            <p:nvSpPr>
              <p:cNvPr id="439" name="Rectangle 42"/>
              <p:cNvSpPr>
                <a:spLocks noChangeArrowheads="1"/>
              </p:cNvSpPr>
              <p:nvPr/>
            </p:nvSpPr>
            <p:spPr bwMode="auto">
              <a:xfrm>
                <a:off x="2832" y="1778"/>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SAN JOSE</a:t>
                </a:r>
              </a:p>
            </p:txBody>
          </p:sp>
          <p:sp>
            <p:nvSpPr>
              <p:cNvPr id="440" name="Rectangle 43"/>
              <p:cNvSpPr>
                <a:spLocks noChangeArrowheads="1"/>
              </p:cNvSpPr>
              <p:nvPr/>
            </p:nvSpPr>
            <p:spPr bwMode="auto">
              <a:xfrm>
                <a:off x="2304" y="1872"/>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SABANALARGA</a:t>
                </a:r>
              </a:p>
            </p:txBody>
          </p:sp>
          <p:sp>
            <p:nvSpPr>
              <p:cNvPr id="441" name="Rectangle 44"/>
              <p:cNvSpPr>
                <a:spLocks noChangeArrowheads="1"/>
              </p:cNvSpPr>
              <p:nvPr/>
            </p:nvSpPr>
            <p:spPr bwMode="auto">
              <a:xfrm>
                <a:off x="2657" y="2818"/>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SOPETRÁN</a:t>
                </a:r>
              </a:p>
            </p:txBody>
          </p:sp>
          <p:sp>
            <p:nvSpPr>
              <p:cNvPr id="442" name="Rectangle 45"/>
              <p:cNvSpPr>
                <a:spLocks noChangeArrowheads="1"/>
              </p:cNvSpPr>
              <p:nvPr/>
            </p:nvSpPr>
            <p:spPr bwMode="auto">
              <a:xfrm>
                <a:off x="2213" y="2977"/>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SAN JERONIMO</a:t>
                </a:r>
              </a:p>
            </p:txBody>
          </p:sp>
          <p:sp>
            <p:nvSpPr>
              <p:cNvPr id="443" name="Rectangle 46"/>
              <p:cNvSpPr>
                <a:spLocks noChangeArrowheads="1"/>
              </p:cNvSpPr>
              <p:nvPr/>
            </p:nvSpPr>
            <p:spPr bwMode="auto">
              <a:xfrm>
                <a:off x="1880" y="2477"/>
                <a:ext cx="752" cy="212"/>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SANTA FÉ DE</a:t>
                </a:r>
              </a:p>
              <a:p>
                <a:pPr marL="0" marR="0" lvl="0" indent="0" algn="ctr" defTabSz="914400" eaLnBrk="0" fontAlgn="auto" latinLnBrk="0" hangingPunct="0">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ANTIOQUIA</a:t>
                </a:r>
              </a:p>
            </p:txBody>
          </p:sp>
          <p:sp>
            <p:nvSpPr>
              <p:cNvPr id="444" name="Rectangle 47"/>
              <p:cNvSpPr>
                <a:spLocks noChangeArrowheads="1"/>
              </p:cNvSpPr>
              <p:nvPr/>
            </p:nvSpPr>
            <p:spPr bwMode="auto">
              <a:xfrm>
                <a:off x="1824" y="2073"/>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BURITICA</a:t>
                </a:r>
              </a:p>
            </p:txBody>
          </p:sp>
          <p:sp>
            <p:nvSpPr>
              <p:cNvPr id="445" name="Rectangle 48"/>
              <p:cNvSpPr>
                <a:spLocks noChangeArrowheads="1"/>
              </p:cNvSpPr>
              <p:nvPr/>
            </p:nvSpPr>
            <p:spPr bwMode="auto">
              <a:xfrm>
                <a:off x="2470" y="2386"/>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OLAYA</a:t>
                </a:r>
              </a:p>
            </p:txBody>
          </p:sp>
          <p:sp>
            <p:nvSpPr>
              <p:cNvPr id="446" name="Rectangle 49"/>
              <p:cNvSpPr>
                <a:spLocks noChangeArrowheads="1"/>
              </p:cNvSpPr>
              <p:nvPr/>
            </p:nvSpPr>
            <p:spPr bwMode="auto">
              <a:xfrm>
                <a:off x="2651" y="2522"/>
                <a:ext cx="473"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SUCRE</a:t>
                </a:r>
              </a:p>
            </p:txBody>
          </p:sp>
          <p:sp>
            <p:nvSpPr>
              <p:cNvPr id="447" name="Rectangle 50"/>
              <p:cNvSpPr>
                <a:spLocks noChangeArrowheads="1"/>
              </p:cNvSpPr>
              <p:nvPr/>
            </p:nvSpPr>
            <p:spPr bwMode="auto">
              <a:xfrm>
                <a:off x="2400" y="2064"/>
                <a:ext cx="544" cy="252"/>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kumimoji="0" lang="en-GB" altLang="es-CO" sz="800" b="1" i="0" u="none" strike="noStrike" kern="0" cap="none" spc="0" normalizeH="0" baseline="0" noProof="0">
                  <a:ln>
                    <a:noFill/>
                  </a:ln>
                  <a:solidFill>
                    <a:srgbClr val="000000"/>
                  </a:solidFill>
                  <a:effectLst/>
                  <a:uLnTx/>
                  <a:uFillTx/>
                  <a:latin typeface="Times New Roman" pitchFamily="18" charset="0"/>
                </a:endParaRPr>
              </a:p>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LIBORINA</a:t>
                </a:r>
              </a:p>
            </p:txBody>
          </p:sp>
          <p:sp>
            <p:nvSpPr>
              <p:cNvPr id="448" name="Rectangle 51"/>
              <p:cNvSpPr>
                <a:spLocks noChangeArrowheads="1"/>
              </p:cNvSpPr>
              <p:nvPr/>
            </p:nvSpPr>
            <p:spPr bwMode="auto">
              <a:xfrm>
                <a:off x="2023" y="1254"/>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PEQUE</a:t>
                </a:r>
              </a:p>
            </p:txBody>
          </p:sp>
          <p:sp>
            <p:nvSpPr>
              <p:cNvPr id="449" name="Oval 52"/>
              <p:cNvSpPr>
                <a:spLocks noChangeArrowheads="1"/>
              </p:cNvSpPr>
              <p:nvPr/>
            </p:nvSpPr>
            <p:spPr bwMode="auto">
              <a:xfrm rot="20100000">
                <a:off x="2912" y="866"/>
                <a:ext cx="456" cy="384"/>
              </a:xfrm>
              <a:prstGeom prst="ellipse">
                <a:avLst/>
              </a:prstGeom>
              <a:noFill/>
              <a:ln w="2857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altLang="es-CO" sz="1800" b="0" i="0" u="none" strike="noStrike" kern="0" cap="none" spc="0" normalizeH="0" baseline="0" noProof="0">
                  <a:ln>
                    <a:noFill/>
                  </a:ln>
                  <a:solidFill>
                    <a:srgbClr val="000000"/>
                  </a:solidFill>
                  <a:effectLst/>
                  <a:uLnTx/>
                  <a:uFillTx/>
                </a:endParaRPr>
              </a:p>
            </p:txBody>
          </p:sp>
          <p:sp>
            <p:nvSpPr>
              <p:cNvPr id="450" name="Line 53"/>
              <p:cNvSpPr>
                <a:spLocks noChangeShapeType="1"/>
              </p:cNvSpPr>
              <p:nvPr/>
            </p:nvSpPr>
            <p:spPr bwMode="auto">
              <a:xfrm flipV="1">
                <a:off x="2560" y="2699"/>
                <a:ext cx="1" cy="98"/>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51" name="Line 54"/>
              <p:cNvSpPr>
                <a:spLocks noChangeShapeType="1"/>
              </p:cNvSpPr>
              <p:nvPr/>
            </p:nvSpPr>
            <p:spPr bwMode="auto">
              <a:xfrm>
                <a:off x="2993" y="1077"/>
                <a:ext cx="48" cy="96"/>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52" name="Line 55"/>
              <p:cNvSpPr>
                <a:spLocks noChangeShapeType="1"/>
              </p:cNvSpPr>
              <p:nvPr/>
            </p:nvSpPr>
            <p:spPr bwMode="auto">
              <a:xfrm flipH="1" flipV="1">
                <a:off x="3013" y="1160"/>
                <a:ext cx="274" cy="184"/>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53" name="Line 56"/>
              <p:cNvSpPr>
                <a:spLocks noChangeShapeType="1"/>
              </p:cNvSpPr>
              <p:nvPr/>
            </p:nvSpPr>
            <p:spPr bwMode="auto">
              <a:xfrm>
                <a:off x="2578" y="2587"/>
                <a:ext cx="96" cy="1"/>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54" name="Rectangle 57"/>
              <p:cNvSpPr>
                <a:spLocks noChangeArrowheads="1"/>
              </p:cNvSpPr>
              <p:nvPr/>
            </p:nvSpPr>
            <p:spPr bwMode="auto">
              <a:xfrm>
                <a:off x="3014" y="2522"/>
                <a:ext cx="752"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ENTRERRIOS</a:t>
                </a:r>
              </a:p>
            </p:txBody>
          </p:sp>
          <p:sp>
            <p:nvSpPr>
              <p:cNvPr id="455" name="Rectangle 58"/>
              <p:cNvSpPr>
                <a:spLocks noChangeArrowheads="1"/>
              </p:cNvSpPr>
              <p:nvPr/>
            </p:nvSpPr>
            <p:spPr bwMode="auto">
              <a:xfrm>
                <a:off x="1200" y="2885"/>
                <a:ext cx="1088" cy="25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625"/>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1000" b="1" i="0" u="none" strike="noStrike" kern="0" cap="none" spc="0" normalizeH="0" baseline="0" noProof="0">
                    <a:ln>
                      <a:noFill/>
                    </a:ln>
                    <a:solidFill>
                      <a:srgbClr val="000000"/>
                    </a:solidFill>
                    <a:effectLst/>
                    <a:uLnTx/>
                    <a:uFillTx/>
                    <a:latin typeface="Times New Roman" pitchFamily="18" charset="0"/>
                  </a:rPr>
                  <a:t>CONEXIÓN VIAL </a:t>
                </a:r>
              </a:p>
              <a:p>
                <a:pPr marL="0" marR="0" lvl="0" indent="0" algn="ctr" defTabSz="914400" eaLnBrk="0" fontAlgn="auto" latinLnBrk="0" hangingPunct="0">
                  <a:lnSpc>
                    <a:spcPct val="100000"/>
                  </a:lnSpc>
                  <a:spcBef>
                    <a:spcPts val="63"/>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1000" b="1" i="0" u="none" strike="noStrike" kern="0" cap="none" spc="0" normalizeH="0" baseline="0" noProof="0">
                    <a:ln>
                      <a:noFill/>
                    </a:ln>
                    <a:solidFill>
                      <a:srgbClr val="000000"/>
                    </a:solidFill>
                    <a:effectLst/>
                    <a:uLnTx/>
                    <a:uFillTx/>
                    <a:latin typeface="Times New Roman" pitchFamily="18" charset="0"/>
                  </a:rPr>
                  <a:t>ABURRÁ - CAUCA </a:t>
                </a:r>
              </a:p>
            </p:txBody>
          </p:sp>
          <p:sp>
            <p:nvSpPr>
              <p:cNvPr id="456" name="Rectangle 59"/>
              <p:cNvSpPr>
                <a:spLocks noChangeArrowheads="1"/>
              </p:cNvSpPr>
              <p:nvPr/>
            </p:nvSpPr>
            <p:spPr bwMode="auto">
              <a:xfrm>
                <a:off x="960" y="997"/>
                <a:ext cx="1280" cy="154"/>
              </a:xfrm>
              <a:prstGeom prst="rect">
                <a:avLst/>
              </a:prstGeom>
              <a:no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altLang="es-CO" sz="1800" b="0" i="0" u="none" strike="noStrike" kern="0" cap="none" spc="0" normalizeH="0" baseline="0" noProof="0">
                  <a:ln>
                    <a:noFill/>
                  </a:ln>
                  <a:solidFill>
                    <a:srgbClr val="000000"/>
                  </a:solidFill>
                  <a:effectLst/>
                  <a:uLnTx/>
                  <a:uFillTx/>
                </a:endParaRPr>
              </a:p>
            </p:txBody>
          </p:sp>
          <p:sp>
            <p:nvSpPr>
              <p:cNvPr id="457" name="Text Box 60"/>
              <p:cNvSpPr txBox="1">
                <a:spLocks noChangeArrowheads="1"/>
              </p:cNvSpPr>
              <p:nvPr/>
            </p:nvSpPr>
            <p:spPr bwMode="auto">
              <a:xfrm>
                <a:off x="2606" y="2205"/>
                <a:ext cx="178" cy="366"/>
              </a:xfrm>
              <a:prstGeom prst="rect">
                <a:avLst/>
              </a:prstGeom>
              <a:noFill/>
              <a:ln w="9525">
                <a:noFill/>
                <a:miter lim="800000"/>
                <a:headEnd/>
                <a:tailEnd/>
              </a:ln>
            </p:spPr>
            <p:txBody>
              <a:bodyPr wrap="none" lIns="90000" tIns="46800" rIns="90000" bIns="46800">
                <a:spAutoFit/>
              </a:bodyPr>
              <a:lstStyle/>
              <a:p>
                <a:pPr marL="0" marR="0" lvl="0" indent="0" defTabSz="914400" eaLnBrk="0" fontAlgn="auto" latinLnBrk="0" hangingPunct="0">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3200" b="0" i="0" u="none" strike="noStrike" kern="0" cap="none" spc="0" normalizeH="0" baseline="0" noProof="0">
                    <a:ln>
                      <a:noFill/>
                    </a:ln>
                    <a:solidFill>
                      <a:srgbClr val="000000"/>
                    </a:solidFill>
                    <a:effectLst/>
                    <a:uLnTx/>
                    <a:uFillTx/>
                    <a:latin typeface="Times New Roman" pitchFamily="18" charset="0"/>
                    <a:ea typeface="Arial Unicode MS" pitchFamily="34" charset="-128"/>
                    <a:cs typeface="Arial Unicode MS" pitchFamily="34" charset="-128"/>
                  </a:rPr>
                  <a:t>.</a:t>
                </a:r>
              </a:p>
            </p:txBody>
          </p:sp>
          <p:sp>
            <p:nvSpPr>
              <p:cNvPr id="458" name="Text Box 61"/>
              <p:cNvSpPr txBox="1">
                <a:spLocks noChangeArrowheads="1"/>
              </p:cNvSpPr>
              <p:nvPr/>
            </p:nvSpPr>
            <p:spPr bwMode="auto">
              <a:xfrm>
                <a:off x="2651" y="2295"/>
                <a:ext cx="178" cy="366"/>
              </a:xfrm>
              <a:prstGeom prst="rect">
                <a:avLst/>
              </a:prstGeom>
              <a:noFill/>
              <a:ln w="9525">
                <a:noFill/>
                <a:miter lim="800000"/>
                <a:headEnd/>
                <a:tailEnd/>
              </a:ln>
            </p:spPr>
            <p:txBody>
              <a:bodyPr wrap="none" lIns="90000" tIns="46800" rIns="90000" bIns="46800">
                <a:spAutoFit/>
              </a:bodyPr>
              <a:lstStyle/>
              <a:p>
                <a:pPr marL="0" marR="0" lvl="0" indent="0" defTabSz="914400" eaLnBrk="0" fontAlgn="auto" latinLnBrk="0" hangingPunct="0">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3200" b="0" i="0" u="none" strike="noStrike" kern="0" cap="none" spc="0" normalizeH="0" baseline="0" noProof="0">
                    <a:ln>
                      <a:noFill/>
                    </a:ln>
                    <a:solidFill>
                      <a:srgbClr val="000000"/>
                    </a:solidFill>
                    <a:effectLst/>
                    <a:uLnTx/>
                    <a:uFillTx/>
                    <a:latin typeface="Times New Roman" pitchFamily="18" charset="0"/>
                    <a:ea typeface="Arial Unicode MS" pitchFamily="34" charset="-128"/>
                    <a:cs typeface="Arial Unicode MS" pitchFamily="34" charset="-128"/>
                  </a:rPr>
                  <a:t>.</a:t>
                </a:r>
              </a:p>
            </p:txBody>
          </p:sp>
          <p:sp>
            <p:nvSpPr>
              <p:cNvPr id="459" name="Line 62"/>
              <p:cNvSpPr>
                <a:spLocks noChangeShapeType="1"/>
              </p:cNvSpPr>
              <p:nvPr/>
            </p:nvSpPr>
            <p:spPr bwMode="auto">
              <a:xfrm flipH="1">
                <a:off x="2106" y="3067"/>
                <a:ext cx="138" cy="1"/>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60" name="Line 63"/>
              <p:cNvSpPr>
                <a:spLocks noChangeShapeType="1"/>
              </p:cNvSpPr>
              <p:nvPr/>
            </p:nvSpPr>
            <p:spPr bwMode="auto">
              <a:xfrm>
                <a:off x="3286" y="1343"/>
                <a:ext cx="137" cy="1"/>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61" name="AutoShape 64"/>
              <p:cNvSpPr>
                <a:spLocks noChangeArrowheads="1"/>
              </p:cNvSpPr>
              <p:nvPr/>
            </p:nvSpPr>
            <p:spPr bwMode="auto">
              <a:xfrm>
                <a:off x="3089" y="3394"/>
                <a:ext cx="208" cy="96"/>
              </a:xfrm>
              <a:custGeom>
                <a:avLst/>
                <a:gdLst>
                  <a:gd name="T0" fmla="*/ 2147359626 w 208"/>
                  <a:gd name="T1" fmla="*/ 2147359573 h 96"/>
                  <a:gd name="T2" fmla="*/ 2147359626 w 208"/>
                  <a:gd name="T3" fmla="*/ 2147359573 h 96"/>
                  <a:gd name="T4" fmla="*/ 2147359626 w 208"/>
                  <a:gd name="T5" fmla="*/ 2147359573 h 96"/>
                  <a:gd name="T6" fmla="*/ 2147359626 w 208"/>
                  <a:gd name="T7" fmla="*/ 2147359573 h 96"/>
                  <a:gd name="T8" fmla="*/ 2147359626 w 208"/>
                  <a:gd name="T9" fmla="*/ 2147359573 h 96"/>
                  <a:gd name="T10" fmla="*/ 2147359626 w 208"/>
                  <a:gd name="T11" fmla="*/ 2147359573 h 96"/>
                  <a:gd name="T12" fmla="*/ 0 w 208"/>
                  <a:gd name="T13" fmla="*/ 0 h 96"/>
                  <a:gd name="T14" fmla="*/ 0 60000 65536"/>
                  <a:gd name="T15" fmla="*/ 0 60000 65536"/>
                  <a:gd name="T16" fmla="*/ 0 60000 65536"/>
                  <a:gd name="T17" fmla="*/ 0 60000 65536"/>
                  <a:gd name="T18" fmla="*/ 0 60000 65536"/>
                  <a:gd name="T19" fmla="*/ 0 60000 65536"/>
                  <a:gd name="T20" fmla="*/ 0 60000 65536"/>
                  <a:gd name="T21" fmla="*/ 0 w 208"/>
                  <a:gd name="T22" fmla="*/ 0 h 96"/>
                  <a:gd name="T23" fmla="*/ 208 w 208"/>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8" h="96">
                    <a:moveTo>
                      <a:pt x="208" y="84"/>
                    </a:moveTo>
                    <a:cubicBezTo>
                      <a:pt x="172" y="96"/>
                      <a:pt x="122" y="83"/>
                      <a:pt x="84" y="80"/>
                    </a:cubicBezTo>
                    <a:cubicBezTo>
                      <a:pt x="69" y="75"/>
                      <a:pt x="65" y="65"/>
                      <a:pt x="52" y="56"/>
                    </a:cubicBezTo>
                    <a:cubicBezTo>
                      <a:pt x="42" y="26"/>
                      <a:pt x="57" y="62"/>
                      <a:pt x="36" y="36"/>
                    </a:cubicBezTo>
                    <a:cubicBezTo>
                      <a:pt x="33" y="33"/>
                      <a:pt x="34" y="28"/>
                      <a:pt x="32" y="24"/>
                    </a:cubicBezTo>
                    <a:cubicBezTo>
                      <a:pt x="30" y="20"/>
                      <a:pt x="27" y="15"/>
                      <a:pt x="24" y="12"/>
                    </a:cubicBezTo>
                    <a:cubicBezTo>
                      <a:pt x="18" y="6"/>
                      <a:pt x="0" y="0"/>
                      <a:pt x="0" y="0"/>
                    </a:cubicBezTo>
                  </a:path>
                </a:pathLst>
              </a:custGeom>
              <a:noFill/>
              <a:ln w="28575">
                <a:solidFill>
                  <a:srgbClr val="FF33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62" name="AutoShape 65"/>
              <p:cNvSpPr>
                <a:spLocks noChangeArrowheads="1"/>
              </p:cNvSpPr>
              <p:nvPr/>
            </p:nvSpPr>
            <p:spPr bwMode="auto">
              <a:xfrm>
                <a:off x="2557" y="2798"/>
                <a:ext cx="436" cy="512"/>
              </a:xfrm>
              <a:custGeom>
                <a:avLst/>
                <a:gdLst>
                  <a:gd name="T0" fmla="*/ 2147359655 w 436"/>
                  <a:gd name="T1" fmla="*/ 2147359232 h 512"/>
                  <a:gd name="T2" fmla="*/ 2147359655 w 436"/>
                  <a:gd name="T3" fmla="*/ 2147359232 h 512"/>
                  <a:gd name="T4" fmla="*/ 2147359655 w 436"/>
                  <a:gd name="T5" fmla="*/ 2147359232 h 512"/>
                  <a:gd name="T6" fmla="*/ 2147359655 w 436"/>
                  <a:gd name="T7" fmla="*/ 2147359232 h 512"/>
                  <a:gd name="T8" fmla="*/ 2147359655 w 436"/>
                  <a:gd name="T9" fmla="*/ 2147359232 h 512"/>
                  <a:gd name="T10" fmla="*/ 2147359655 w 436"/>
                  <a:gd name="T11" fmla="*/ 2147359232 h 512"/>
                  <a:gd name="T12" fmla="*/ 2147359655 w 436"/>
                  <a:gd name="T13" fmla="*/ 2147359232 h 512"/>
                  <a:gd name="T14" fmla="*/ 2147359655 w 436"/>
                  <a:gd name="T15" fmla="*/ 2147359232 h 512"/>
                  <a:gd name="T16" fmla="*/ 2147359655 w 436"/>
                  <a:gd name="T17" fmla="*/ 2147359232 h 512"/>
                  <a:gd name="T18" fmla="*/ 2147359655 w 436"/>
                  <a:gd name="T19" fmla="*/ 2147359232 h 512"/>
                  <a:gd name="T20" fmla="*/ 2147359655 w 436"/>
                  <a:gd name="T21" fmla="*/ 2147359232 h 512"/>
                  <a:gd name="T22" fmla="*/ 2147359655 w 436"/>
                  <a:gd name="T23" fmla="*/ 2147359232 h 512"/>
                  <a:gd name="T24" fmla="*/ 2147359655 w 436"/>
                  <a:gd name="T25" fmla="*/ 2147359232 h 512"/>
                  <a:gd name="T26" fmla="*/ 2147359655 w 436"/>
                  <a:gd name="T27" fmla="*/ 2147359232 h 512"/>
                  <a:gd name="T28" fmla="*/ 2147359655 w 436"/>
                  <a:gd name="T29" fmla="*/ 2147359232 h 512"/>
                  <a:gd name="T30" fmla="*/ 2147359655 w 436"/>
                  <a:gd name="T31" fmla="*/ 2147359232 h 512"/>
                  <a:gd name="T32" fmla="*/ 0 w 436"/>
                  <a:gd name="T33" fmla="*/ 0 h 5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6"/>
                  <a:gd name="T52" fmla="*/ 0 h 512"/>
                  <a:gd name="T53" fmla="*/ 436 w 436"/>
                  <a:gd name="T54" fmla="*/ 512 h 5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6" h="512">
                    <a:moveTo>
                      <a:pt x="436" y="512"/>
                    </a:moveTo>
                    <a:cubicBezTo>
                      <a:pt x="419" y="506"/>
                      <a:pt x="423" y="498"/>
                      <a:pt x="408" y="488"/>
                    </a:cubicBezTo>
                    <a:cubicBezTo>
                      <a:pt x="401" y="468"/>
                      <a:pt x="393" y="455"/>
                      <a:pt x="376" y="444"/>
                    </a:cubicBezTo>
                    <a:cubicBezTo>
                      <a:pt x="375" y="440"/>
                      <a:pt x="375" y="435"/>
                      <a:pt x="372" y="432"/>
                    </a:cubicBezTo>
                    <a:cubicBezTo>
                      <a:pt x="369" y="429"/>
                      <a:pt x="362" y="431"/>
                      <a:pt x="360" y="428"/>
                    </a:cubicBezTo>
                    <a:cubicBezTo>
                      <a:pt x="347" y="410"/>
                      <a:pt x="343" y="372"/>
                      <a:pt x="336" y="352"/>
                    </a:cubicBezTo>
                    <a:cubicBezTo>
                      <a:pt x="333" y="342"/>
                      <a:pt x="322" y="337"/>
                      <a:pt x="316" y="328"/>
                    </a:cubicBezTo>
                    <a:cubicBezTo>
                      <a:pt x="337" y="321"/>
                      <a:pt x="338" y="299"/>
                      <a:pt x="316" y="292"/>
                    </a:cubicBezTo>
                    <a:cubicBezTo>
                      <a:pt x="310" y="273"/>
                      <a:pt x="322" y="278"/>
                      <a:pt x="328" y="260"/>
                    </a:cubicBezTo>
                    <a:cubicBezTo>
                      <a:pt x="323" y="242"/>
                      <a:pt x="322" y="234"/>
                      <a:pt x="304" y="228"/>
                    </a:cubicBezTo>
                    <a:cubicBezTo>
                      <a:pt x="293" y="196"/>
                      <a:pt x="260" y="194"/>
                      <a:pt x="232" y="180"/>
                    </a:cubicBezTo>
                    <a:cubicBezTo>
                      <a:pt x="220" y="174"/>
                      <a:pt x="196" y="160"/>
                      <a:pt x="196" y="160"/>
                    </a:cubicBezTo>
                    <a:cubicBezTo>
                      <a:pt x="177" y="131"/>
                      <a:pt x="166" y="117"/>
                      <a:pt x="132" y="108"/>
                    </a:cubicBezTo>
                    <a:cubicBezTo>
                      <a:pt x="113" y="80"/>
                      <a:pt x="124" y="89"/>
                      <a:pt x="104" y="76"/>
                    </a:cubicBezTo>
                    <a:cubicBezTo>
                      <a:pt x="87" y="50"/>
                      <a:pt x="62" y="38"/>
                      <a:pt x="36" y="24"/>
                    </a:cubicBezTo>
                    <a:cubicBezTo>
                      <a:pt x="28" y="19"/>
                      <a:pt x="20" y="13"/>
                      <a:pt x="12" y="8"/>
                    </a:cubicBezTo>
                    <a:cubicBezTo>
                      <a:pt x="8" y="5"/>
                      <a:pt x="0" y="0"/>
                      <a:pt x="0" y="0"/>
                    </a:cubicBezTo>
                  </a:path>
                </a:pathLst>
              </a:custGeom>
              <a:noFill/>
              <a:ln w="28575">
                <a:solidFill>
                  <a:srgbClr val="FF33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63" name="AutoShape 66"/>
              <p:cNvSpPr>
                <a:spLocks noChangeArrowheads="1"/>
              </p:cNvSpPr>
              <p:nvPr/>
            </p:nvSpPr>
            <p:spPr bwMode="auto">
              <a:xfrm>
                <a:off x="2735" y="888"/>
                <a:ext cx="334" cy="376"/>
              </a:xfrm>
              <a:custGeom>
                <a:avLst/>
                <a:gdLst>
                  <a:gd name="T0" fmla="*/ 0 w 334"/>
                  <a:gd name="T1" fmla="*/ 0 h 376"/>
                  <a:gd name="T2" fmla="*/ 2147359471 w 334"/>
                  <a:gd name="T3" fmla="*/ 2147359559 h 376"/>
                  <a:gd name="T4" fmla="*/ 2147359471 w 334"/>
                  <a:gd name="T5" fmla="*/ 2147359559 h 376"/>
                  <a:gd name="T6" fmla="*/ 2147359471 w 334"/>
                  <a:gd name="T7" fmla="*/ 2147359559 h 376"/>
                  <a:gd name="T8" fmla="*/ 2147359471 w 334"/>
                  <a:gd name="T9" fmla="*/ 2147359559 h 376"/>
                  <a:gd name="T10" fmla="*/ 2147359471 w 334"/>
                  <a:gd name="T11" fmla="*/ 2147359559 h 376"/>
                  <a:gd name="T12" fmla="*/ 2147359471 w 334"/>
                  <a:gd name="T13" fmla="*/ 2147359559 h 376"/>
                  <a:gd name="T14" fmla="*/ 2147359471 w 334"/>
                  <a:gd name="T15" fmla="*/ 2147359559 h 376"/>
                  <a:gd name="T16" fmla="*/ 2147359471 w 334"/>
                  <a:gd name="T17" fmla="*/ 2147359559 h 376"/>
                  <a:gd name="T18" fmla="*/ 2147359471 w 334"/>
                  <a:gd name="T19" fmla="*/ 2147359559 h 376"/>
                  <a:gd name="T20" fmla="*/ 2147359471 w 334"/>
                  <a:gd name="T21" fmla="*/ 2147359559 h 376"/>
                  <a:gd name="T22" fmla="*/ 2147359471 w 334"/>
                  <a:gd name="T23" fmla="*/ 2147359559 h 376"/>
                  <a:gd name="T24" fmla="*/ 2147359471 w 334"/>
                  <a:gd name="T25" fmla="*/ 2147359559 h 376"/>
                  <a:gd name="T26" fmla="*/ 2147359471 w 334"/>
                  <a:gd name="T27" fmla="*/ 2147359559 h 376"/>
                  <a:gd name="T28" fmla="*/ 2147359471 w 334"/>
                  <a:gd name="T29" fmla="*/ 2147359559 h 376"/>
                  <a:gd name="T30" fmla="*/ 2147359471 w 334"/>
                  <a:gd name="T31" fmla="*/ 2147359559 h 376"/>
                  <a:gd name="T32" fmla="*/ 2147359471 w 334"/>
                  <a:gd name="T33" fmla="*/ 2147359559 h 376"/>
                  <a:gd name="T34" fmla="*/ 2147359471 w 334"/>
                  <a:gd name="T35" fmla="*/ 2147359559 h 376"/>
                  <a:gd name="T36" fmla="*/ 2147359471 w 334"/>
                  <a:gd name="T37" fmla="*/ 2147359559 h 376"/>
                  <a:gd name="T38" fmla="*/ 2147359471 w 334"/>
                  <a:gd name="T39" fmla="*/ 2147359559 h 376"/>
                  <a:gd name="T40" fmla="*/ 2147359471 w 334"/>
                  <a:gd name="T41" fmla="*/ 2147359559 h 376"/>
                  <a:gd name="T42" fmla="*/ 2147359471 w 334"/>
                  <a:gd name="T43" fmla="*/ 2147359559 h 376"/>
                  <a:gd name="T44" fmla="*/ 2147359471 w 334"/>
                  <a:gd name="T45" fmla="*/ 2147359559 h 376"/>
                  <a:gd name="T46" fmla="*/ 2147359471 w 334"/>
                  <a:gd name="T47" fmla="*/ 2147359559 h 376"/>
                  <a:gd name="T48" fmla="*/ 2147359471 w 334"/>
                  <a:gd name="T49" fmla="*/ 2147359559 h 376"/>
                  <a:gd name="T50" fmla="*/ 2147359471 w 334"/>
                  <a:gd name="T51" fmla="*/ 2147359559 h 376"/>
                  <a:gd name="T52" fmla="*/ 2147359471 w 334"/>
                  <a:gd name="T53" fmla="*/ 2147359559 h 376"/>
                  <a:gd name="T54" fmla="*/ 2147359471 w 334"/>
                  <a:gd name="T55" fmla="*/ 2147359559 h 376"/>
                  <a:gd name="T56" fmla="*/ 2147359471 w 334"/>
                  <a:gd name="T57" fmla="*/ 2147359559 h 3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34"/>
                  <a:gd name="T88" fmla="*/ 0 h 376"/>
                  <a:gd name="T89" fmla="*/ 334 w 334"/>
                  <a:gd name="T90" fmla="*/ 376 h 3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34" h="376">
                    <a:moveTo>
                      <a:pt x="0" y="0"/>
                    </a:moveTo>
                    <a:cubicBezTo>
                      <a:pt x="5" y="7"/>
                      <a:pt x="11" y="11"/>
                      <a:pt x="16" y="18"/>
                    </a:cubicBezTo>
                    <a:cubicBezTo>
                      <a:pt x="19" y="49"/>
                      <a:pt x="17" y="43"/>
                      <a:pt x="46" y="40"/>
                    </a:cubicBezTo>
                    <a:cubicBezTo>
                      <a:pt x="57" y="36"/>
                      <a:pt x="50" y="39"/>
                      <a:pt x="64" y="30"/>
                    </a:cubicBezTo>
                    <a:cubicBezTo>
                      <a:pt x="69" y="27"/>
                      <a:pt x="76" y="28"/>
                      <a:pt x="82" y="26"/>
                    </a:cubicBezTo>
                    <a:cubicBezTo>
                      <a:pt x="92" y="29"/>
                      <a:pt x="86" y="34"/>
                      <a:pt x="94" y="40"/>
                    </a:cubicBezTo>
                    <a:cubicBezTo>
                      <a:pt x="99" y="44"/>
                      <a:pt x="107" y="43"/>
                      <a:pt x="114" y="44"/>
                    </a:cubicBezTo>
                    <a:cubicBezTo>
                      <a:pt x="116" y="45"/>
                      <a:pt x="118" y="45"/>
                      <a:pt x="120" y="46"/>
                    </a:cubicBezTo>
                    <a:cubicBezTo>
                      <a:pt x="122" y="48"/>
                      <a:pt x="122" y="51"/>
                      <a:pt x="124" y="52"/>
                    </a:cubicBezTo>
                    <a:cubicBezTo>
                      <a:pt x="132" y="55"/>
                      <a:pt x="140" y="54"/>
                      <a:pt x="148" y="56"/>
                    </a:cubicBezTo>
                    <a:cubicBezTo>
                      <a:pt x="153" y="71"/>
                      <a:pt x="151" y="64"/>
                      <a:pt x="154" y="78"/>
                    </a:cubicBezTo>
                    <a:cubicBezTo>
                      <a:pt x="153" y="85"/>
                      <a:pt x="155" y="93"/>
                      <a:pt x="152" y="100"/>
                    </a:cubicBezTo>
                    <a:cubicBezTo>
                      <a:pt x="150" y="104"/>
                      <a:pt x="140" y="108"/>
                      <a:pt x="140" y="108"/>
                    </a:cubicBezTo>
                    <a:cubicBezTo>
                      <a:pt x="136" y="121"/>
                      <a:pt x="147" y="124"/>
                      <a:pt x="158" y="126"/>
                    </a:cubicBezTo>
                    <a:cubicBezTo>
                      <a:pt x="159" y="128"/>
                      <a:pt x="158" y="131"/>
                      <a:pt x="160" y="132"/>
                    </a:cubicBezTo>
                    <a:cubicBezTo>
                      <a:pt x="166" y="134"/>
                      <a:pt x="176" y="128"/>
                      <a:pt x="180" y="134"/>
                    </a:cubicBezTo>
                    <a:cubicBezTo>
                      <a:pt x="194" y="155"/>
                      <a:pt x="181" y="157"/>
                      <a:pt x="172" y="160"/>
                    </a:cubicBezTo>
                    <a:cubicBezTo>
                      <a:pt x="168" y="172"/>
                      <a:pt x="177" y="176"/>
                      <a:pt x="182" y="186"/>
                    </a:cubicBezTo>
                    <a:cubicBezTo>
                      <a:pt x="179" y="195"/>
                      <a:pt x="167" y="198"/>
                      <a:pt x="180" y="194"/>
                    </a:cubicBezTo>
                    <a:cubicBezTo>
                      <a:pt x="176" y="209"/>
                      <a:pt x="197" y="214"/>
                      <a:pt x="210" y="216"/>
                    </a:cubicBezTo>
                    <a:cubicBezTo>
                      <a:pt x="213" y="225"/>
                      <a:pt x="217" y="224"/>
                      <a:pt x="226" y="226"/>
                    </a:cubicBezTo>
                    <a:cubicBezTo>
                      <a:pt x="241" y="221"/>
                      <a:pt x="223" y="225"/>
                      <a:pt x="234" y="242"/>
                    </a:cubicBezTo>
                    <a:cubicBezTo>
                      <a:pt x="236" y="246"/>
                      <a:pt x="246" y="246"/>
                      <a:pt x="246" y="246"/>
                    </a:cubicBezTo>
                    <a:cubicBezTo>
                      <a:pt x="251" y="254"/>
                      <a:pt x="257" y="289"/>
                      <a:pt x="266" y="294"/>
                    </a:cubicBezTo>
                    <a:cubicBezTo>
                      <a:pt x="289" y="305"/>
                      <a:pt x="270" y="290"/>
                      <a:pt x="284" y="298"/>
                    </a:cubicBezTo>
                    <a:cubicBezTo>
                      <a:pt x="288" y="300"/>
                      <a:pt x="296" y="306"/>
                      <a:pt x="296" y="306"/>
                    </a:cubicBezTo>
                    <a:cubicBezTo>
                      <a:pt x="301" y="314"/>
                      <a:pt x="294" y="322"/>
                      <a:pt x="300" y="328"/>
                    </a:cubicBezTo>
                    <a:cubicBezTo>
                      <a:pt x="303" y="331"/>
                      <a:pt x="314" y="335"/>
                      <a:pt x="318" y="336"/>
                    </a:cubicBezTo>
                    <a:cubicBezTo>
                      <a:pt x="315" y="349"/>
                      <a:pt x="316" y="376"/>
                      <a:pt x="334" y="376"/>
                    </a:cubicBezTo>
                  </a:path>
                </a:pathLst>
              </a:custGeom>
              <a:noFill/>
              <a:ln w="28575">
                <a:solidFill>
                  <a:srgbClr val="FF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64" name="AutoShape 67"/>
              <p:cNvSpPr>
                <a:spLocks noChangeArrowheads="1"/>
              </p:cNvSpPr>
              <p:nvPr/>
            </p:nvSpPr>
            <p:spPr bwMode="auto">
              <a:xfrm>
                <a:off x="3067" y="1278"/>
                <a:ext cx="120" cy="240"/>
              </a:xfrm>
              <a:custGeom>
                <a:avLst/>
                <a:gdLst>
                  <a:gd name="T0" fmla="*/ 2147359710 w 120"/>
                  <a:gd name="T1" fmla="*/ 0 h 240"/>
                  <a:gd name="T2" fmla="*/ 2147359710 w 120"/>
                  <a:gd name="T3" fmla="*/ 2147359710 h 240"/>
                  <a:gd name="T4" fmla="*/ 2147359710 w 120"/>
                  <a:gd name="T5" fmla="*/ 2147359710 h 240"/>
                  <a:gd name="T6" fmla="*/ 2147359710 w 120"/>
                  <a:gd name="T7" fmla="*/ 2147359710 h 240"/>
                  <a:gd name="T8" fmla="*/ 2147359710 w 120"/>
                  <a:gd name="T9" fmla="*/ 2147359710 h 240"/>
                  <a:gd name="T10" fmla="*/ 2147359710 w 120"/>
                  <a:gd name="T11" fmla="*/ 2147359710 h 240"/>
                  <a:gd name="T12" fmla="*/ 2147359710 w 120"/>
                  <a:gd name="T13" fmla="*/ 2147359710 h 240"/>
                  <a:gd name="T14" fmla="*/ 2147359710 w 120"/>
                  <a:gd name="T15" fmla="*/ 2147359710 h 240"/>
                  <a:gd name="T16" fmla="*/ 2147359710 w 120"/>
                  <a:gd name="T17" fmla="*/ 2147359710 h 240"/>
                  <a:gd name="T18" fmla="*/ 2147359710 w 120"/>
                  <a:gd name="T19" fmla="*/ 2147359710 h 240"/>
                  <a:gd name="T20" fmla="*/ 2147359710 w 120"/>
                  <a:gd name="T21" fmla="*/ 2147359710 h 240"/>
                  <a:gd name="T22" fmla="*/ 2147359710 w 120"/>
                  <a:gd name="T23" fmla="*/ 2147359710 h 240"/>
                  <a:gd name="T24" fmla="*/ 2147359710 w 120"/>
                  <a:gd name="T25" fmla="*/ 2147359710 h 240"/>
                  <a:gd name="T26" fmla="*/ 2147359710 w 120"/>
                  <a:gd name="T27" fmla="*/ 2147359710 h 240"/>
                  <a:gd name="T28" fmla="*/ 2147359710 w 120"/>
                  <a:gd name="T29" fmla="*/ 2147359710 h 2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0"/>
                  <a:gd name="T46" fmla="*/ 0 h 240"/>
                  <a:gd name="T47" fmla="*/ 120 w 120"/>
                  <a:gd name="T48" fmla="*/ 240 h 2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0" h="240">
                    <a:moveTo>
                      <a:pt x="12" y="0"/>
                    </a:moveTo>
                    <a:cubicBezTo>
                      <a:pt x="8" y="12"/>
                      <a:pt x="0" y="11"/>
                      <a:pt x="18" y="14"/>
                    </a:cubicBezTo>
                    <a:cubicBezTo>
                      <a:pt x="23" y="30"/>
                      <a:pt x="18" y="25"/>
                      <a:pt x="36" y="28"/>
                    </a:cubicBezTo>
                    <a:cubicBezTo>
                      <a:pt x="51" y="38"/>
                      <a:pt x="34" y="37"/>
                      <a:pt x="62" y="40"/>
                    </a:cubicBezTo>
                    <a:cubicBezTo>
                      <a:pt x="68" y="57"/>
                      <a:pt x="62" y="51"/>
                      <a:pt x="82" y="54"/>
                    </a:cubicBezTo>
                    <a:cubicBezTo>
                      <a:pt x="76" y="71"/>
                      <a:pt x="81" y="51"/>
                      <a:pt x="86" y="62"/>
                    </a:cubicBezTo>
                    <a:cubicBezTo>
                      <a:pt x="93" y="77"/>
                      <a:pt x="82" y="82"/>
                      <a:pt x="98" y="86"/>
                    </a:cubicBezTo>
                    <a:cubicBezTo>
                      <a:pt x="105" y="91"/>
                      <a:pt x="109" y="91"/>
                      <a:pt x="114" y="98"/>
                    </a:cubicBezTo>
                    <a:cubicBezTo>
                      <a:pt x="117" y="110"/>
                      <a:pt x="112" y="119"/>
                      <a:pt x="120" y="130"/>
                    </a:cubicBezTo>
                    <a:cubicBezTo>
                      <a:pt x="119" y="139"/>
                      <a:pt x="118" y="166"/>
                      <a:pt x="114" y="176"/>
                    </a:cubicBezTo>
                    <a:cubicBezTo>
                      <a:pt x="112" y="181"/>
                      <a:pt x="106" y="188"/>
                      <a:pt x="106" y="188"/>
                    </a:cubicBezTo>
                    <a:cubicBezTo>
                      <a:pt x="104" y="197"/>
                      <a:pt x="103" y="202"/>
                      <a:pt x="98" y="210"/>
                    </a:cubicBezTo>
                    <a:cubicBezTo>
                      <a:pt x="96" y="220"/>
                      <a:pt x="96" y="225"/>
                      <a:pt x="86" y="228"/>
                    </a:cubicBezTo>
                    <a:cubicBezTo>
                      <a:pt x="83" y="238"/>
                      <a:pt x="87" y="232"/>
                      <a:pt x="78" y="236"/>
                    </a:cubicBezTo>
                    <a:cubicBezTo>
                      <a:pt x="76" y="237"/>
                      <a:pt x="72" y="240"/>
                      <a:pt x="72" y="240"/>
                    </a:cubicBezTo>
                  </a:path>
                </a:pathLst>
              </a:custGeom>
              <a:noFill/>
              <a:ln w="28575">
                <a:solidFill>
                  <a:srgbClr val="FF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65" name="AutoShape 68"/>
              <p:cNvSpPr>
                <a:spLocks noChangeArrowheads="1"/>
              </p:cNvSpPr>
              <p:nvPr/>
            </p:nvSpPr>
            <p:spPr bwMode="auto">
              <a:xfrm>
                <a:off x="3056" y="1526"/>
                <a:ext cx="109" cy="229"/>
              </a:xfrm>
              <a:custGeom>
                <a:avLst/>
                <a:gdLst>
                  <a:gd name="T0" fmla="*/ 2147359655 w 109"/>
                  <a:gd name="T1" fmla="*/ 0 h 229"/>
                  <a:gd name="T2" fmla="*/ 2147359655 w 109"/>
                  <a:gd name="T3" fmla="*/ 2147359684 h 229"/>
                  <a:gd name="T4" fmla="*/ 2147359655 w 109"/>
                  <a:gd name="T5" fmla="*/ 2147359684 h 229"/>
                  <a:gd name="T6" fmla="*/ 2147359655 w 109"/>
                  <a:gd name="T7" fmla="*/ 2147359684 h 229"/>
                  <a:gd name="T8" fmla="*/ 2147359655 w 109"/>
                  <a:gd name="T9" fmla="*/ 2147359684 h 229"/>
                  <a:gd name="T10" fmla="*/ 2147359655 w 109"/>
                  <a:gd name="T11" fmla="*/ 2147359684 h 229"/>
                  <a:gd name="T12" fmla="*/ 2147359655 w 109"/>
                  <a:gd name="T13" fmla="*/ 2147359684 h 229"/>
                  <a:gd name="T14" fmla="*/ 2147359655 w 109"/>
                  <a:gd name="T15" fmla="*/ 2147359684 h 229"/>
                  <a:gd name="T16" fmla="*/ 2147359655 w 109"/>
                  <a:gd name="T17" fmla="*/ 2147359684 h 229"/>
                  <a:gd name="T18" fmla="*/ 2147359655 w 109"/>
                  <a:gd name="T19" fmla="*/ 2147359684 h 229"/>
                  <a:gd name="T20" fmla="*/ 2147359655 w 109"/>
                  <a:gd name="T21" fmla="*/ 2147359684 h 229"/>
                  <a:gd name="T22" fmla="*/ 2147359655 w 109"/>
                  <a:gd name="T23" fmla="*/ 2147359684 h 229"/>
                  <a:gd name="T24" fmla="*/ 2147359655 w 109"/>
                  <a:gd name="T25" fmla="*/ 2147359684 h 229"/>
                  <a:gd name="T26" fmla="*/ 2147359655 w 109"/>
                  <a:gd name="T27" fmla="*/ 2147359684 h 229"/>
                  <a:gd name="T28" fmla="*/ 2147359655 w 109"/>
                  <a:gd name="T29" fmla="*/ 2147359684 h 229"/>
                  <a:gd name="T30" fmla="*/ 2147359655 w 109"/>
                  <a:gd name="T31" fmla="*/ 2147359684 h 229"/>
                  <a:gd name="T32" fmla="*/ 2147359655 w 109"/>
                  <a:gd name="T33" fmla="*/ 2147359684 h 229"/>
                  <a:gd name="T34" fmla="*/ 2147359655 w 109"/>
                  <a:gd name="T35" fmla="*/ 2147359684 h 2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229"/>
                  <a:gd name="T56" fmla="*/ 109 w 109"/>
                  <a:gd name="T57" fmla="*/ 229 h 2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229">
                    <a:moveTo>
                      <a:pt x="97" y="0"/>
                    </a:moveTo>
                    <a:cubicBezTo>
                      <a:pt x="87" y="2"/>
                      <a:pt x="87" y="7"/>
                      <a:pt x="79" y="12"/>
                    </a:cubicBezTo>
                    <a:cubicBezTo>
                      <a:pt x="70" y="26"/>
                      <a:pt x="75" y="21"/>
                      <a:pt x="65" y="28"/>
                    </a:cubicBezTo>
                    <a:cubicBezTo>
                      <a:pt x="61" y="40"/>
                      <a:pt x="59" y="48"/>
                      <a:pt x="47" y="50"/>
                    </a:cubicBezTo>
                    <a:cubicBezTo>
                      <a:pt x="45" y="66"/>
                      <a:pt x="42" y="77"/>
                      <a:pt x="37" y="92"/>
                    </a:cubicBezTo>
                    <a:cubicBezTo>
                      <a:pt x="34" y="121"/>
                      <a:pt x="30" y="107"/>
                      <a:pt x="23" y="128"/>
                    </a:cubicBezTo>
                    <a:cubicBezTo>
                      <a:pt x="26" y="136"/>
                      <a:pt x="30" y="150"/>
                      <a:pt x="17" y="146"/>
                    </a:cubicBezTo>
                    <a:cubicBezTo>
                      <a:pt x="8" y="148"/>
                      <a:pt x="0" y="151"/>
                      <a:pt x="11" y="158"/>
                    </a:cubicBezTo>
                    <a:cubicBezTo>
                      <a:pt x="27" y="154"/>
                      <a:pt x="38" y="148"/>
                      <a:pt x="55" y="146"/>
                    </a:cubicBezTo>
                    <a:cubicBezTo>
                      <a:pt x="61" y="151"/>
                      <a:pt x="79" y="163"/>
                      <a:pt x="65" y="174"/>
                    </a:cubicBezTo>
                    <a:cubicBezTo>
                      <a:pt x="56" y="181"/>
                      <a:pt x="42" y="177"/>
                      <a:pt x="31" y="178"/>
                    </a:cubicBezTo>
                    <a:cubicBezTo>
                      <a:pt x="12" y="184"/>
                      <a:pt x="10" y="174"/>
                      <a:pt x="7" y="198"/>
                    </a:cubicBezTo>
                    <a:cubicBezTo>
                      <a:pt x="8" y="203"/>
                      <a:pt x="4" y="211"/>
                      <a:pt x="9" y="214"/>
                    </a:cubicBezTo>
                    <a:cubicBezTo>
                      <a:pt x="35" y="229"/>
                      <a:pt x="35" y="205"/>
                      <a:pt x="43" y="228"/>
                    </a:cubicBezTo>
                    <a:cubicBezTo>
                      <a:pt x="50" y="227"/>
                      <a:pt x="60" y="229"/>
                      <a:pt x="65" y="224"/>
                    </a:cubicBezTo>
                    <a:cubicBezTo>
                      <a:pt x="68" y="221"/>
                      <a:pt x="66" y="213"/>
                      <a:pt x="71" y="212"/>
                    </a:cubicBezTo>
                    <a:cubicBezTo>
                      <a:pt x="80" y="210"/>
                      <a:pt x="90" y="211"/>
                      <a:pt x="99" y="210"/>
                    </a:cubicBezTo>
                    <a:cubicBezTo>
                      <a:pt x="106" y="208"/>
                      <a:pt x="103" y="208"/>
                      <a:pt x="109" y="208"/>
                    </a:cubicBezTo>
                  </a:path>
                </a:pathLst>
              </a:custGeom>
              <a:noFill/>
              <a:ln w="28575">
                <a:solidFill>
                  <a:srgbClr val="FF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66" name="AutoShape 69"/>
              <p:cNvSpPr>
                <a:spLocks noChangeArrowheads="1"/>
              </p:cNvSpPr>
              <p:nvPr/>
            </p:nvSpPr>
            <p:spPr bwMode="auto">
              <a:xfrm>
                <a:off x="3169" y="1730"/>
                <a:ext cx="420" cy="204"/>
              </a:xfrm>
              <a:custGeom>
                <a:avLst/>
                <a:gdLst>
                  <a:gd name="T0" fmla="*/ 0 w 420"/>
                  <a:gd name="T1" fmla="*/ 0 h 204"/>
                  <a:gd name="T2" fmla="*/ 2147359632 w 420"/>
                  <a:gd name="T3" fmla="*/ 2147359614 h 204"/>
                  <a:gd name="T4" fmla="*/ 2147359632 w 420"/>
                  <a:gd name="T5" fmla="*/ 2147359614 h 204"/>
                  <a:gd name="T6" fmla="*/ 2147359632 w 420"/>
                  <a:gd name="T7" fmla="*/ 2147359614 h 204"/>
                  <a:gd name="T8" fmla="*/ 2147359632 w 420"/>
                  <a:gd name="T9" fmla="*/ 2147359614 h 204"/>
                  <a:gd name="T10" fmla="*/ 2147359632 w 420"/>
                  <a:gd name="T11" fmla="*/ 2147359614 h 204"/>
                  <a:gd name="T12" fmla="*/ 2147359632 w 420"/>
                  <a:gd name="T13" fmla="*/ 2147359614 h 204"/>
                  <a:gd name="T14" fmla="*/ 2147359632 w 420"/>
                  <a:gd name="T15" fmla="*/ 2147359614 h 204"/>
                  <a:gd name="T16" fmla="*/ 2147359632 w 420"/>
                  <a:gd name="T17" fmla="*/ 2147359614 h 204"/>
                  <a:gd name="T18" fmla="*/ 2147359632 w 420"/>
                  <a:gd name="T19" fmla="*/ 2147359614 h 204"/>
                  <a:gd name="T20" fmla="*/ 2147359632 w 420"/>
                  <a:gd name="T21" fmla="*/ 2147359614 h 204"/>
                  <a:gd name="T22" fmla="*/ 2147359632 w 420"/>
                  <a:gd name="T23" fmla="*/ 2147359614 h 204"/>
                  <a:gd name="T24" fmla="*/ 2147359632 w 420"/>
                  <a:gd name="T25" fmla="*/ 2147359614 h 204"/>
                  <a:gd name="T26" fmla="*/ 2147359632 w 420"/>
                  <a:gd name="T27" fmla="*/ 2147359614 h 204"/>
                  <a:gd name="T28" fmla="*/ 2147359632 w 420"/>
                  <a:gd name="T29" fmla="*/ 2147359614 h 204"/>
                  <a:gd name="T30" fmla="*/ 2147359632 w 420"/>
                  <a:gd name="T31" fmla="*/ 2147359614 h 204"/>
                  <a:gd name="T32" fmla="*/ 2147359632 w 420"/>
                  <a:gd name="T33" fmla="*/ 2147359614 h 204"/>
                  <a:gd name="T34" fmla="*/ 2147359632 w 420"/>
                  <a:gd name="T35" fmla="*/ 2147359614 h 204"/>
                  <a:gd name="T36" fmla="*/ 2147359632 w 420"/>
                  <a:gd name="T37" fmla="*/ 2147359614 h 204"/>
                  <a:gd name="T38" fmla="*/ 2147359632 w 420"/>
                  <a:gd name="T39" fmla="*/ 2147359614 h 204"/>
                  <a:gd name="T40" fmla="*/ 2147359632 w 420"/>
                  <a:gd name="T41" fmla="*/ 2147359614 h 2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0"/>
                  <a:gd name="T64" fmla="*/ 0 h 204"/>
                  <a:gd name="T65" fmla="*/ 420 w 420"/>
                  <a:gd name="T66" fmla="*/ 204 h 20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0" h="204">
                    <a:moveTo>
                      <a:pt x="0" y="0"/>
                    </a:moveTo>
                    <a:cubicBezTo>
                      <a:pt x="12" y="8"/>
                      <a:pt x="8" y="21"/>
                      <a:pt x="6" y="34"/>
                    </a:cubicBezTo>
                    <a:cubicBezTo>
                      <a:pt x="17" y="41"/>
                      <a:pt x="26" y="40"/>
                      <a:pt x="38" y="38"/>
                    </a:cubicBezTo>
                    <a:cubicBezTo>
                      <a:pt x="53" y="39"/>
                      <a:pt x="79" y="27"/>
                      <a:pt x="84" y="42"/>
                    </a:cubicBezTo>
                    <a:cubicBezTo>
                      <a:pt x="91" y="63"/>
                      <a:pt x="105" y="58"/>
                      <a:pt x="126" y="60"/>
                    </a:cubicBezTo>
                    <a:cubicBezTo>
                      <a:pt x="132" y="78"/>
                      <a:pt x="126" y="72"/>
                      <a:pt x="148" y="74"/>
                    </a:cubicBezTo>
                    <a:cubicBezTo>
                      <a:pt x="149" y="76"/>
                      <a:pt x="148" y="80"/>
                      <a:pt x="150" y="80"/>
                    </a:cubicBezTo>
                    <a:cubicBezTo>
                      <a:pt x="154" y="81"/>
                      <a:pt x="162" y="76"/>
                      <a:pt x="162" y="76"/>
                    </a:cubicBezTo>
                    <a:cubicBezTo>
                      <a:pt x="159" y="93"/>
                      <a:pt x="175" y="90"/>
                      <a:pt x="190" y="92"/>
                    </a:cubicBezTo>
                    <a:cubicBezTo>
                      <a:pt x="192" y="93"/>
                      <a:pt x="194" y="94"/>
                      <a:pt x="196" y="94"/>
                    </a:cubicBezTo>
                    <a:cubicBezTo>
                      <a:pt x="213" y="94"/>
                      <a:pt x="230" y="89"/>
                      <a:pt x="246" y="92"/>
                    </a:cubicBezTo>
                    <a:cubicBezTo>
                      <a:pt x="253" y="93"/>
                      <a:pt x="244" y="106"/>
                      <a:pt x="250" y="108"/>
                    </a:cubicBezTo>
                    <a:cubicBezTo>
                      <a:pt x="256" y="110"/>
                      <a:pt x="262" y="109"/>
                      <a:pt x="268" y="110"/>
                    </a:cubicBezTo>
                    <a:cubicBezTo>
                      <a:pt x="277" y="113"/>
                      <a:pt x="283" y="117"/>
                      <a:pt x="292" y="120"/>
                    </a:cubicBezTo>
                    <a:cubicBezTo>
                      <a:pt x="294" y="121"/>
                      <a:pt x="298" y="122"/>
                      <a:pt x="298" y="122"/>
                    </a:cubicBezTo>
                    <a:cubicBezTo>
                      <a:pt x="315" y="118"/>
                      <a:pt x="310" y="136"/>
                      <a:pt x="322" y="140"/>
                    </a:cubicBezTo>
                    <a:cubicBezTo>
                      <a:pt x="331" y="138"/>
                      <a:pt x="336" y="135"/>
                      <a:pt x="344" y="138"/>
                    </a:cubicBezTo>
                    <a:cubicBezTo>
                      <a:pt x="347" y="148"/>
                      <a:pt x="345" y="160"/>
                      <a:pt x="350" y="170"/>
                    </a:cubicBezTo>
                    <a:cubicBezTo>
                      <a:pt x="352" y="174"/>
                      <a:pt x="362" y="178"/>
                      <a:pt x="362" y="178"/>
                    </a:cubicBezTo>
                    <a:cubicBezTo>
                      <a:pt x="369" y="188"/>
                      <a:pt x="370" y="200"/>
                      <a:pt x="382" y="204"/>
                    </a:cubicBezTo>
                    <a:cubicBezTo>
                      <a:pt x="398" y="199"/>
                      <a:pt x="386" y="202"/>
                      <a:pt x="420" y="202"/>
                    </a:cubicBezTo>
                  </a:path>
                </a:pathLst>
              </a:custGeom>
              <a:noFill/>
              <a:ln w="28575">
                <a:solidFill>
                  <a:srgbClr val="FF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67" name="AutoShape 70"/>
              <p:cNvSpPr>
                <a:spLocks noChangeArrowheads="1"/>
              </p:cNvSpPr>
              <p:nvPr/>
            </p:nvSpPr>
            <p:spPr bwMode="auto">
              <a:xfrm>
                <a:off x="3595" y="1932"/>
                <a:ext cx="148" cy="24"/>
              </a:xfrm>
              <a:custGeom>
                <a:avLst/>
                <a:gdLst>
                  <a:gd name="T0" fmla="*/ 0 w 148"/>
                  <a:gd name="T1" fmla="*/ 2147359573 h 24"/>
                  <a:gd name="T2" fmla="*/ 2147359370 w 148"/>
                  <a:gd name="T3" fmla="*/ 2147359573 h 24"/>
                  <a:gd name="T4" fmla="*/ 2147359370 w 148"/>
                  <a:gd name="T5" fmla="*/ 2147359573 h 24"/>
                  <a:gd name="T6" fmla="*/ 2147359370 w 148"/>
                  <a:gd name="T7" fmla="*/ 2147359573 h 24"/>
                  <a:gd name="T8" fmla="*/ 2147359370 w 148"/>
                  <a:gd name="T9" fmla="*/ 2147359573 h 24"/>
                  <a:gd name="T10" fmla="*/ 2147359370 w 148"/>
                  <a:gd name="T11" fmla="*/ 2147359573 h 24"/>
                  <a:gd name="T12" fmla="*/ 2147359370 w 148"/>
                  <a:gd name="T13" fmla="*/ 2147359573 h 24"/>
                  <a:gd name="T14" fmla="*/ 0 60000 65536"/>
                  <a:gd name="T15" fmla="*/ 0 60000 65536"/>
                  <a:gd name="T16" fmla="*/ 0 60000 65536"/>
                  <a:gd name="T17" fmla="*/ 0 60000 65536"/>
                  <a:gd name="T18" fmla="*/ 0 60000 65536"/>
                  <a:gd name="T19" fmla="*/ 0 60000 65536"/>
                  <a:gd name="T20" fmla="*/ 0 60000 65536"/>
                  <a:gd name="T21" fmla="*/ 0 w 148"/>
                  <a:gd name="T22" fmla="*/ 0 h 24"/>
                  <a:gd name="T23" fmla="*/ 148 w 14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 h="24">
                    <a:moveTo>
                      <a:pt x="0" y="2"/>
                    </a:moveTo>
                    <a:cubicBezTo>
                      <a:pt x="18" y="0"/>
                      <a:pt x="34" y="2"/>
                      <a:pt x="52" y="4"/>
                    </a:cubicBezTo>
                    <a:cubicBezTo>
                      <a:pt x="59" y="9"/>
                      <a:pt x="67" y="9"/>
                      <a:pt x="74" y="14"/>
                    </a:cubicBezTo>
                    <a:cubicBezTo>
                      <a:pt x="81" y="24"/>
                      <a:pt x="86" y="22"/>
                      <a:pt x="98" y="20"/>
                    </a:cubicBezTo>
                    <a:cubicBezTo>
                      <a:pt x="114" y="9"/>
                      <a:pt x="105" y="11"/>
                      <a:pt x="126" y="14"/>
                    </a:cubicBezTo>
                    <a:cubicBezTo>
                      <a:pt x="128" y="15"/>
                      <a:pt x="130" y="15"/>
                      <a:pt x="132" y="16"/>
                    </a:cubicBezTo>
                    <a:cubicBezTo>
                      <a:pt x="147" y="24"/>
                      <a:pt x="148" y="24"/>
                      <a:pt x="142" y="24"/>
                    </a:cubicBezTo>
                  </a:path>
                </a:pathLst>
              </a:custGeom>
              <a:noFill/>
              <a:ln w="28575">
                <a:solidFill>
                  <a:srgbClr val="FF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68" name="Text Box 71"/>
              <p:cNvSpPr txBox="1">
                <a:spLocks noChangeArrowheads="1"/>
              </p:cNvSpPr>
              <p:nvPr/>
            </p:nvSpPr>
            <p:spPr bwMode="auto">
              <a:xfrm>
                <a:off x="3675" y="1065"/>
                <a:ext cx="452" cy="136"/>
              </a:xfrm>
              <a:prstGeom prst="rect">
                <a:avLst/>
              </a:prstGeom>
              <a:noFill/>
              <a:ln w="9525">
                <a:noFill/>
                <a:miter lim="800000"/>
                <a:headEnd/>
                <a:tailEnd/>
              </a:ln>
            </p:spPr>
            <p:txBody>
              <a:bodyPr wrap="none" lIns="90000" tIns="46800" rIns="90000" bIns="46800">
                <a:spAutoFit/>
              </a:bodyPr>
              <a:lstStyle/>
              <a:p>
                <a:pPr marL="0" marR="0" lvl="0" indent="0" defTabSz="914400" eaLnBrk="1" fontAlgn="auto" latinLnBrk="0" hangingPunct="1">
                  <a:lnSpc>
                    <a:spcPct val="100000"/>
                  </a:lnSpc>
                  <a:spcBef>
                    <a:spcPts val="0"/>
                  </a:spcBef>
                  <a:spcAft>
                    <a:spcPts val="0"/>
                  </a:spcAft>
                  <a:buClrTx/>
                  <a:buSzTx/>
                  <a:buFont typeface="Times New Roman" pitchFamily="18"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ea typeface="Arial Unicode MS" pitchFamily="34" charset="-128"/>
                    <a:cs typeface="Arial Unicode MS" pitchFamily="34" charset="-128"/>
                  </a:rPr>
                  <a:t> BRICEÑO</a:t>
                </a:r>
              </a:p>
            </p:txBody>
          </p:sp>
          <p:grpSp>
            <p:nvGrpSpPr>
              <p:cNvPr id="469" name="Group 72"/>
              <p:cNvGrpSpPr>
                <a:grpSpLocks/>
              </p:cNvGrpSpPr>
              <p:nvPr/>
            </p:nvGrpSpPr>
            <p:grpSpPr bwMode="auto">
              <a:xfrm>
                <a:off x="2537" y="747"/>
                <a:ext cx="573" cy="260"/>
                <a:chOff x="2537" y="747"/>
                <a:chExt cx="573" cy="260"/>
              </a:xfrm>
            </p:grpSpPr>
            <p:sp>
              <p:nvSpPr>
                <p:cNvPr id="533" name="AutoShape 73"/>
                <p:cNvSpPr>
                  <a:spLocks noChangeArrowheads="1"/>
                </p:cNvSpPr>
                <p:nvPr/>
              </p:nvSpPr>
              <p:spPr bwMode="auto">
                <a:xfrm>
                  <a:off x="2537" y="747"/>
                  <a:ext cx="520" cy="191"/>
                </a:xfrm>
                <a:custGeom>
                  <a:avLst/>
                  <a:gdLst>
                    <a:gd name="T0" fmla="*/ 0 w 520"/>
                    <a:gd name="T1" fmla="*/ 0 h 191"/>
                    <a:gd name="T2" fmla="*/ 30 w 520"/>
                    <a:gd name="T3" fmla="*/ 3 h 191"/>
                    <a:gd name="T4" fmla="*/ 54 w 520"/>
                    <a:gd name="T5" fmla="*/ 15 h 191"/>
                    <a:gd name="T6" fmla="*/ 51 w 520"/>
                    <a:gd name="T7" fmla="*/ 29 h 191"/>
                    <a:gd name="T8" fmla="*/ 63 w 520"/>
                    <a:gd name="T9" fmla="*/ 48 h 191"/>
                    <a:gd name="T10" fmla="*/ 87 w 520"/>
                    <a:gd name="T11" fmla="*/ 69 h 191"/>
                    <a:gd name="T12" fmla="*/ 229 w 520"/>
                    <a:gd name="T13" fmla="*/ 84 h 191"/>
                    <a:gd name="T14" fmla="*/ 331 w 520"/>
                    <a:gd name="T15" fmla="*/ 86 h 191"/>
                    <a:gd name="T16" fmla="*/ 351 w 520"/>
                    <a:gd name="T17" fmla="*/ 77 h 191"/>
                    <a:gd name="T18" fmla="*/ 385 w 520"/>
                    <a:gd name="T19" fmla="*/ 78 h 191"/>
                    <a:gd name="T20" fmla="*/ 396 w 520"/>
                    <a:gd name="T21" fmla="*/ 90 h 191"/>
                    <a:gd name="T22" fmla="*/ 418 w 520"/>
                    <a:gd name="T23" fmla="*/ 93 h 191"/>
                    <a:gd name="T24" fmla="*/ 430 w 520"/>
                    <a:gd name="T25" fmla="*/ 111 h 191"/>
                    <a:gd name="T26" fmla="*/ 444 w 520"/>
                    <a:gd name="T27" fmla="*/ 135 h 191"/>
                    <a:gd name="T28" fmla="*/ 456 w 520"/>
                    <a:gd name="T29" fmla="*/ 149 h 191"/>
                    <a:gd name="T30" fmla="*/ 475 w 520"/>
                    <a:gd name="T31" fmla="*/ 162 h 191"/>
                    <a:gd name="T32" fmla="*/ 486 w 520"/>
                    <a:gd name="T33" fmla="*/ 165 h 191"/>
                    <a:gd name="T34" fmla="*/ 489 w 520"/>
                    <a:gd name="T35" fmla="*/ 174 h 191"/>
                    <a:gd name="T36" fmla="*/ 516 w 520"/>
                    <a:gd name="T37" fmla="*/ 186 h 191"/>
                    <a:gd name="T38" fmla="*/ 520 w 520"/>
                    <a:gd name="T39" fmla="*/ 189 h 191"/>
                    <a:gd name="T40" fmla="*/ 516 w 520"/>
                    <a:gd name="T41" fmla="*/ 191 h 19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0"/>
                    <a:gd name="T64" fmla="*/ 0 h 191"/>
                    <a:gd name="T65" fmla="*/ 520 w 520"/>
                    <a:gd name="T66" fmla="*/ 191 h 19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0" h="191">
                      <a:moveTo>
                        <a:pt x="0" y="0"/>
                      </a:moveTo>
                      <a:cubicBezTo>
                        <a:pt x="10" y="1"/>
                        <a:pt x="20" y="0"/>
                        <a:pt x="30" y="3"/>
                      </a:cubicBezTo>
                      <a:cubicBezTo>
                        <a:pt x="39" y="6"/>
                        <a:pt x="45" y="13"/>
                        <a:pt x="54" y="15"/>
                      </a:cubicBezTo>
                      <a:cubicBezTo>
                        <a:pt x="55" y="22"/>
                        <a:pt x="52" y="23"/>
                        <a:pt x="51" y="29"/>
                      </a:cubicBezTo>
                      <a:cubicBezTo>
                        <a:pt x="60" y="30"/>
                        <a:pt x="59" y="40"/>
                        <a:pt x="63" y="48"/>
                      </a:cubicBezTo>
                      <a:cubicBezTo>
                        <a:pt x="68" y="59"/>
                        <a:pt x="76" y="67"/>
                        <a:pt x="87" y="69"/>
                      </a:cubicBezTo>
                      <a:cubicBezTo>
                        <a:pt x="128" y="89"/>
                        <a:pt x="182" y="82"/>
                        <a:pt x="229" y="84"/>
                      </a:cubicBezTo>
                      <a:cubicBezTo>
                        <a:pt x="259" y="96"/>
                        <a:pt x="320" y="86"/>
                        <a:pt x="331" y="86"/>
                      </a:cubicBezTo>
                      <a:cubicBezTo>
                        <a:pt x="338" y="83"/>
                        <a:pt x="343" y="79"/>
                        <a:pt x="351" y="77"/>
                      </a:cubicBezTo>
                      <a:cubicBezTo>
                        <a:pt x="362" y="77"/>
                        <a:pt x="374" y="77"/>
                        <a:pt x="385" y="78"/>
                      </a:cubicBezTo>
                      <a:cubicBezTo>
                        <a:pt x="393" y="79"/>
                        <a:pt x="390" y="88"/>
                        <a:pt x="396" y="90"/>
                      </a:cubicBezTo>
                      <a:cubicBezTo>
                        <a:pt x="399" y="91"/>
                        <a:pt x="414" y="93"/>
                        <a:pt x="418" y="93"/>
                      </a:cubicBezTo>
                      <a:cubicBezTo>
                        <a:pt x="422" y="99"/>
                        <a:pt x="425" y="106"/>
                        <a:pt x="430" y="111"/>
                      </a:cubicBezTo>
                      <a:cubicBezTo>
                        <a:pt x="429" y="121"/>
                        <a:pt x="433" y="133"/>
                        <a:pt x="444" y="135"/>
                      </a:cubicBezTo>
                      <a:cubicBezTo>
                        <a:pt x="450" y="139"/>
                        <a:pt x="453" y="143"/>
                        <a:pt x="456" y="149"/>
                      </a:cubicBezTo>
                      <a:cubicBezTo>
                        <a:pt x="458" y="163"/>
                        <a:pt x="461" y="161"/>
                        <a:pt x="475" y="162"/>
                      </a:cubicBezTo>
                      <a:cubicBezTo>
                        <a:pt x="479" y="163"/>
                        <a:pt x="483" y="163"/>
                        <a:pt x="486" y="165"/>
                      </a:cubicBezTo>
                      <a:cubicBezTo>
                        <a:pt x="488" y="167"/>
                        <a:pt x="487" y="172"/>
                        <a:pt x="489" y="174"/>
                      </a:cubicBezTo>
                      <a:cubicBezTo>
                        <a:pt x="494" y="180"/>
                        <a:pt x="508" y="184"/>
                        <a:pt x="516" y="186"/>
                      </a:cubicBezTo>
                      <a:cubicBezTo>
                        <a:pt x="517" y="187"/>
                        <a:pt x="520" y="187"/>
                        <a:pt x="520" y="189"/>
                      </a:cubicBezTo>
                      <a:cubicBezTo>
                        <a:pt x="520" y="190"/>
                        <a:pt x="516" y="191"/>
                        <a:pt x="516" y="191"/>
                      </a:cubicBezTo>
                    </a:path>
                  </a:pathLst>
                </a:custGeom>
                <a:noFill/>
                <a:ln w="28575">
                  <a:solidFill>
                    <a:srgbClr val="0000FF"/>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34" name="AutoShape 74"/>
                <p:cNvSpPr>
                  <a:spLocks noChangeArrowheads="1"/>
                </p:cNvSpPr>
                <p:nvPr/>
              </p:nvSpPr>
              <p:spPr bwMode="auto">
                <a:xfrm>
                  <a:off x="3077" y="957"/>
                  <a:ext cx="34" cy="51"/>
                </a:xfrm>
                <a:custGeom>
                  <a:avLst/>
                  <a:gdLst>
                    <a:gd name="T0" fmla="*/ 0 w 34"/>
                    <a:gd name="T1" fmla="*/ 0 h 51"/>
                    <a:gd name="T2" fmla="*/ 12 w 34"/>
                    <a:gd name="T3" fmla="*/ 12 h 51"/>
                    <a:gd name="T4" fmla="*/ 15 w 34"/>
                    <a:gd name="T5" fmla="*/ 26 h 51"/>
                    <a:gd name="T6" fmla="*/ 34 w 34"/>
                    <a:gd name="T7" fmla="*/ 47 h 51"/>
                    <a:gd name="T8" fmla="*/ 0 60000 65536"/>
                    <a:gd name="T9" fmla="*/ 0 60000 65536"/>
                    <a:gd name="T10" fmla="*/ 0 60000 65536"/>
                    <a:gd name="T11" fmla="*/ 0 60000 65536"/>
                    <a:gd name="T12" fmla="*/ 0 w 34"/>
                    <a:gd name="T13" fmla="*/ 0 h 51"/>
                    <a:gd name="T14" fmla="*/ 34 w 34"/>
                    <a:gd name="T15" fmla="*/ 51 h 51"/>
                  </a:gdLst>
                  <a:ahLst/>
                  <a:cxnLst>
                    <a:cxn ang="T8">
                      <a:pos x="T0" y="T1"/>
                    </a:cxn>
                    <a:cxn ang="T9">
                      <a:pos x="T2" y="T3"/>
                    </a:cxn>
                    <a:cxn ang="T10">
                      <a:pos x="T4" y="T5"/>
                    </a:cxn>
                    <a:cxn ang="T11">
                      <a:pos x="T6" y="T7"/>
                    </a:cxn>
                  </a:cxnLst>
                  <a:rect l="T12" t="T13" r="T14" b="T15"/>
                  <a:pathLst>
                    <a:path w="34" h="51">
                      <a:moveTo>
                        <a:pt x="0" y="0"/>
                      </a:moveTo>
                      <a:cubicBezTo>
                        <a:pt x="11" y="5"/>
                        <a:pt x="7" y="1"/>
                        <a:pt x="12" y="12"/>
                      </a:cubicBezTo>
                      <a:cubicBezTo>
                        <a:pt x="9" y="19"/>
                        <a:pt x="12" y="19"/>
                        <a:pt x="15" y="26"/>
                      </a:cubicBezTo>
                      <a:cubicBezTo>
                        <a:pt x="17" y="37"/>
                        <a:pt x="20" y="51"/>
                        <a:pt x="34" y="47"/>
                      </a:cubicBezTo>
                    </a:path>
                  </a:pathLst>
                </a:custGeom>
                <a:noFill/>
                <a:ln w="28575">
                  <a:solidFill>
                    <a:srgbClr val="0000FF"/>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grpSp>
          <p:graphicFrame>
            <p:nvGraphicFramePr>
              <p:cNvPr id="470" name="Object 3"/>
              <p:cNvGraphicFramePr>
                <a:graphicFrameLocks noChangeAspect="1"/>
              </p:cNvGraphicFramePr>
              <p:nvPr>
                <p:extLst/>
              </p:nvPr>
            </p:nvGraphicFramePr>
            <p:xfrm>
              <a:off x="1354" y="242"/>
              <a:ext cx="3107" cy="3422"/>
            </p:xfrm>
            <a:graphic>
              <a:graphicData uri="http://schemas.openxmlformats.org/presentationml/2006/ole">
                <mc:AlternateContent xmlns:mc="http://schemas.openxmlformats.org/markup-compatibility/2006">
                  <mc:Choice xmlns:v="urn:schemas-microsoft-com:vml" Requires="v">
                    <p:oleObj spid="_x0000_s4267" name="Bitmap Image" r:id="rId7" imgW="7104762" imgH="10352381" progId="PBrush">
                      <p:embed/>
                    </p:oleObj>
                  </mc:Choice>
                  <mc:Fallback>
                    <p:oleObj name="Bitmap Image" r:id="rId7" imgW="7104762" imgH="10352381" progId="PBrush">
                      <p:embed/>
                      <p:pic>
                        <p:nvPicPr>
                          <p:cNvPr id="13390" name="Object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54" y="242"/>
                            <a:ext cx="3107" cy="3422"/>
                          </a:xfrm>
                          <a:prstGeom prst="rect">
                            <a:avLst/>
                          </a:prstGeom>
                          <a:noFill/>
                          <a:ln w="28575">
                            <a:solidFill>
                              <a:schemeClr val="tx1"/>
                            </a:solidFill>
                            <a:miter lim="800000"/>
                            <a:headEnd/>
                            <a:tailEnd/>
                          </a:ln>
                          <a:extLst/>
                        </p:spPr>
                      </p:pic>
                    </p:oleObj>
                  </mc:Fallback>
                </mc:AlternateContent>
              </a:graphicData>
            </a:graphic>
          </p:graphicFrame>
          <p:sp>
            <p:nvSpPr>
              <p:cNvPr id="471" name="Line 76"/>
              <p:cNvSpPr>
                <a:spLocks noChangeShapeType="1"/>
              </p:cNvSpPr>
              <p:nvPr/>
            </p:nvSpPr>
            <p:spPr bwMode="auto">
              <a:xfrm flipH="1" flipV="1">
                <a:off x="2628" y="668"/>
                <a:ext cx="172" cy="2"/>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72" name="Line 77"/>
              <p:cNvSpPr>
                <a:spLocks noChangeShapeType="1"/>
              </p:cNvSpPr>
              <p:nvPr/>
            </p:nvSpPr>
            <p:spPr bwMode="auto">
              <a:xfrm>
                <a:off x="2794" y="665"/>
                <a:ext cx="279" cy="301"/>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73" name="Rectangle 78"/>
              <p:cNvSpPr>
                <a:spLocks noChangeArrowheads="1"/>
              </p:cNvSpPr>
              <p:nvPr/>
            </p:nvSpPr>
            <p:spPr bwMode="auto">
              <a:xfrm>
                <a:off x="1450" y="2724"/>
                <a:ext cx="940"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dirty="0">
                    <a:ln>
                      <a:noFill/>
                    </a:ln>
                    <a:solidFill>
                      <a:srgbClr val="000000"/>
                    </a:solidFill>
                    <a:effectLst/>
                    <a:uLnTx/>
                    <a:uFillTx/>
                    <a:latin typeface="Times New Roman" pitchFamily="18" charset="0"/>
                  </a:rPr>
                  <a:t>Puente Paso Real </a:t>
                </a:r>
              </a:p>
            </p:txBody>
          </p:sp>
          <p:sp>
            <p:nvSpPr>
              <p:cNvPr id="474" name="Rectangle 79"/>
              <p:cNvSpPr>
                <a:spLocks noChangeArrowheads="1"/>
              </p:cNvSpPr>
              <p:nvPr/>
            </p:nvSpPr>
            <p:spPr bwMode="auto">
              <a:xfrm>
                <a:off x="3259" y="3476"/>
                <a:ext cx="681" cy="142"/>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625"/>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1000" b="1" i="0" u="none" strike="noStrike" kern="0" cap="none" spc="0" normalizeH="0" baseline="0" noProof="0" dirty="0">
                    <a:ln>
                      <a:noFill/>
                    </a:ln>
                    <a:solidFill>
                      <a:srgbClr val="000000"/>
                    </a:solidFill>
                    <a:effectLst/>
                    <a:uLnTx/>
                    <a:uFillTx/>
                    <a:latin typeface="Trebuchet MS" panose="020B0603020202020204" pitchFamily="34" charset="0"/>
                  </a:rPr>
                  <a:t>MEDELLÍN </a:t>
                </a:r>
              </a:p>
            </p:txBody>
          </p:sp>
          <p:sp>
            <p:nvSpPr>
              <p:cNvPr id="475" name="Rectangle 80"/>
              <p:cNvSpPr>
                <a:spLocks noChangeArrowheads="1"/>
              </p:cNvSpPr>
              <p:nvPr/>
            </p:nvSpPr>
            <p:spPr bwMode="auto">
              <a:xfrm>
                <a:off x="2256" y="797"/>
                <a:ext cx="480" cy="124"/>
              </a:xfrm>
              <a:prstGeom prst="rect">
                <a:avLst/>
              </a:prstGeom>
              <a:solidFill>
                <a:srgbClr val="33CC33">
                  <a:alpha val="50196"/>
                </a:srgbClr>
              </a:solidFill>
              <a:ln>
                <a:noFill/>
              </a:ln>
              <a:extLst/>
            </p:spPr>
            <p:style>
              <a:lnRef idx="0">
                <a:scrgbClr r="0" g="0" b="0"/>
              </a:lnRef>
              <a:fillRef idx="1002">
                <a:schemeClr val="lt1"/>
              </a:fillRef>
              <a:effectRef idx="0">
                <a:scrgbClr r="0" g="0" b="0"/>
              </a:effectRef>
              <a:fontRef idx="major"/>
            </p:style>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ITUANGO </a:t>
                </a:r>
              </a:p>
            </p:txBody>
          </p:sp>
          <p:sp>
            <p:nvSpPr>
              <p:cNvPr id="476" name="Line 81"/>
              <p:cNvSpPr>
                <a:spLocks noChangeShapeType="1"/>
              </p:cNvSpPr>
              <p:nvPr/>
            </p:nvSpPr>
            <p:spPr bwMode="auto">
              <a:xfrm>
                <a:off x="2193" y="2791"/>
                <a:ext cx="96" cy="1"/>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77" name="Line 82"/>
              <p:cNvSpPr>
                <a:spLocks noChangeShapeType="1"/>
              </p:cNvSpPr>
              <p:nvPr/>
            </p:nvSpPr>
            <p:spPr bwMode="auto">
              <a:xfrm flipV="1">
                <a:off x="2280" y="2760"/>
                <a:ext cx="192" cy="32"/>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78" name="Line 83"/>
              <p:cNvSpPr>
                <a:spLocks noChangeShapeType="1"/>
              </p:cNvSpPr>
              <p:nvPr/>
            </p:nvSpPr>
            <p:spPr bwMode="auto">
              <a:xfrm>
                <a:off x="2234" y="3065"/>
                <a:ext cx="720" cy="192"/>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79" name="Rectangle 84"/>
              <p:cNvSpPr>
                <a:spLocks noChangeArrowheads="1"/>
              </p:cNvSpPr>
              <p:nvPr/>
            </p:nvSpPr>
            <p:spPr bwMode="auto">
              <a:xfrm>
                <a:off x="2653" y="2659"/>
                <a:ext cx="859" cy="142"/>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625"/>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a:ln>
                      <a:noFill/>
                    </a:ln>
                    <a:solidFill>
                      <a:srgbClr val="000000"/>
                    </a:solidFill>
                    <a:effectLst/>
                    <a:uLnTx/>
                    <a:uFillTx/>
                    <a:latin typeface="Times New Roman" pitchFamily="18" charset="0"/>
                  </a:rPr>
                  <a:t>Puente de Occidente</a:t>
                </a:r>
                <a:r>
                  <a:rPr kumimoji="0" lang="en-GB" altLang="es-CO" sz="1000" b="1" i="0" u="none" strike="noStrike" kern="0" cap="none" spc="0" normalizeH="0" baseline="0" noProof="0">
                    <a:ln>
                      <a:noFill/>
                    </a:ln>
                    <a:solidFill>
                      <a:srgbClr val="000000"/>
                    </a:solidFill>
                    <a:effectLst/>
                    <a:uLnTx/>
                    <a:uFillTx/>
                    <a:latin typeface="Times New Roman" pitchFamily="18" charset="0"/>
                  </a:rPr>
                  <a:t> </a:t>
                </a:r>
              </a:p>
            </p:txBody>
          </p:sp>
          <p:sp>
            <p:nvSpPr>
              <p:cNvPr id="480" name="Line 85"/>
              <p:cNvSpPr>
                <a:spLocks noChangeShapeType="1"/>
              </p:cNvSpPr>
              <p:nvPr/>
            </p:nvSpPr>
            <p:spPr bwMode="auto">
              <a:xfrm rot="20700886" flipH="1" flipV="1">
                <a:off x="2634" y="2610"/>
                <a:ext cx="71" cy="139"/>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481" name="Rectangle 86"/>
              <p:cNvSpPr>
                <a:spLocks noChangeArrowheads="1"/>
              </p:cNvSpPr>
              <p:nvPr/>
            </p:nvSpPr>
            <p:spPr bwMode="auto">
              <a:xfrm>
                <a:off x="2139" y="981"/>
                <a:ext cx="656" cy="199"/>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ts val="1000"/>
                  </a:lnSpc>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dirty="0">
                    <a:ln>
                      <a:noFill/>
                    </a:ln>
                    <a:solidFill>
                      <a:srgbClr val="000000"/>
                    </a:solidFill>
                    <a:effectLst/>
                    <a:uLnTx/>
                    <a:uFillTx/>
                    <a:latin typeface="Times New Roman" pitchFamily="18" charset="0"/>
                  </a:rPr>
                  <a:t>Puente Pescadero</a:t>
                </a:r>
                <a:r>
                  <a:rPr kumimoji="0" lang="en-GB" altLang="es-CO" sz="1000" b="1" i="0" u="none" strike="noStrike" kern="0" cap="none" spc="0" normalizeH="0" baseline="0" noProof="0" dirty="0">
                    <a:ln>
                      <a:noFill/>
                    </a:ln>
                    <a:solidFill>
                      <a:srgbClr val="000000"/>
                    </a:solidFill>
                    <a:effectLst/>
                    <a:uLnTx/>
                    <a:uFillTx/>
                    <a:latin typeface="Times New Roman" pitchFamily="18" charset="0"/>
                  </a:rPr>
                  <a:t> </a:t>
                </a:r>
              </a:p>
            </p:txBody>
          </p:sp>
          <p:sp>
            <p:nvSpPr>
              <p:cNvPr id="482" name="Rectangle 87"/>
              <p:cNvSpPr>
                <a:spLocks noChangeArrowheads="1"/>
              </p:cNvSpPr>
              <p:nvPr/>
            </p:nvSpPr>
            <p:spPr bwMode="auto">
              <a:xfrm>
                <a:off x="1538" y="2019"/>
                <a:ext cx="752"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CAÑASGORDAS</a:t>
                </a:r>
              </a:p>
            </p:txBody>
          </p:sp>
          <p:sp>
            <p:nvSpPr>
              <p:cNvPr id="483" name="Rectangle 89"/>
              <p:cNvSpPr>
                <a:spLocks noChangeArrowheads="1"/>
              </p:cNvSpPr>
              <p:nvPr/>
            </p:nvSpPr>
            <p:spPr bwMode="auto">
              <a:xfrm>
                <a:off x="2658" y="1337"/>
                <a:ext cx="437" cy="124"/>
              </a:xfrm>
              <a:prstGeom prst="rect">
                <a:avLst/>
              </a:prstGeom>
              <a:solidFill>
                <a:srgbClr val="33CC33">
                  <a:alpha val="50196"/>
                </a:srgbClr>
              </a:solidFill>
              <a:ln>
                <a:noFill/>
              </a:ln>
              <a:extLst/>
            </p:spPr>
            <p:style>
              <a:lnRef idx="0">
                <a:scrgbClr r="0" g="0" b="0"/>
              </a:lnRef>
              <a:fillRef idx="1002">
                <a:schemeClr val="lt1"/>
              </a:fillRef>
              <a:effectRef idx="0">
                <a:scrgbClr r="0" g="0" b="0"/>
              </a:effectRef>
              <a:fontRef idx="major"/>
            </p:style>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TOLEDO</a:t>
                </a:r>
              </a:p>
            </p:txBody>
          </p:sp>
          <p:sp>
            <p:nvSpPr>
              <p:cNvPr id="484" name="Rectangle 88"/>
              <p:cNvSpPr>
                <a:spLocks noChangeArrowheads="1"/>
              </p:cNvSpPr>
              <p:nvPr/>
            </p:nvSpPr>
            <p:spPr bwMode="auto">
              <a:xfrm>
                <a:off x="3893" y="804"/>
                <a:ext cx="563" cy="124"/>
              </a:xfrm>
              <a:prstGeom prst="rect">
                <a:avLst/>
              </a:prstGeom>
              <a:solidFill>
                <a:srgbClr val="FFFF00">
                  <a:alpha val="50196"/>
                </a:srgbClr>
              </a:solidFill>
              <a:ln>
                <a:noFill/>
              </a:ln>
              <a:extLst/>
            </p:spPr>
            <p:style>
              <a:lnRef idx="0">
                <a:scrgbClr r="0" g="0" b="0"/>
              </a:lnRef>
              <a:fillRef idx="1002">
                <a:schemeClr val="lt1"/>
              </a:fillRef>
              <a:effectRef idx="0">
                <a:scrgbClr r="0" g="0" b="0"/>
              </a:effectRef>
              <a:fontRef idx="major"/>
            </p:style>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VALDIVIA</a:t>
                </a:r>
              </a:p>
            </p:txBody>
          </p:sp>
          <p:sp>
            <p:nvSpPr>
              <p:cNvPr id="485" name="Rectangle 90"/>
              <p:cNvSpPr>
                <a:spLocks noChangeArrowheads="1"/>
              </p:cNvSpPr>
              <p:nvPr/>
            </p:nvSpPr>
            <p:spPr bwMode="auto">
              <a:xfrm>
                <a:off x="3018" y="1562"/>
                <a:ext cx="611" cy="124"/>
              </a:xfrm>
              <a:prstGeom prst="rect">
                <a:avLst/>
              </a:prstGeom>
              <a:solidFill>
                <a:srgbClr val="FFFF00">
                  <a:alpha val="50196"/>
                </a:srgbClr>
              </a:solidFill>
              <a:ln>
                <a:noFill/>
              </a:ln>
              <a:extLst/>
            </p:spPr>
            <p:style>
              <a:lnRef idx="0">
                <a:scrgbClr r="0" g="0" b="0"/>
              </a:lnRef>
              <a:fillRef idx="1002">
                <a:schemeClr val="lt1"/>
              </a:fillRef>
              <a:effectRef idx="0">
                <a:scrgbClr r="0" g="0" b="0"/>
              </a:effectRef>
              <a:fontRef idx="major"/>
            </p:style>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SAN ANDRES</a:t>
                </a:r>
              </a:p>
            </p:txBody>
          </p:sp>
          <p:sp>
            <p:nvSpPr>
              <p:cNvPr id="486" name="Rectangle 91"/>
              <p:cNvSpPr>
                <a:spLocks noChangeArrowheads="1"/>
              </p:cNvSpPr>
              <p:nvPr/>
            </p:nvSpPr>
            <p:spPr bwMode="auto">
              <a:xfrm>
                <a:off x="3580" y="424"/>
                <a:ext cx="576" cy="199"/>
              </a:xfrm>
              <a:prstGeom prst="rect">
                <a:avLst/>
              </a:prstGeom>
              <a:noFill/>
              <a:ln w="9525">
                <a:noFill/>
                <a:miter lim="800000"/>
                <a:headEnd/>
                <a:tailEnd/>
              </a:ln>
            </p:spPr>
            <p:txBody>
              <a:bodyPr wrap="square" lIns="92160" tIns="46080" rIns="92160" bIns="46080">
                <a:spAutoFit/>
              </a:bodyPr>
              <a:lstStyle/>
              <a:p>
                <a:pPr marL="0" marR="0" lvl="0" indent="0" algn="ctr" defTabSz="914400" eaLnBrk="0" fontAlgn="auto" latinLnBrk="0" hangingPunct="0">
                  <a:lnSpc>
                    <a:spcPts val="1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700" b="1" i="0" u="none" strike="noStrike" kern="0" cap="none" spc="0" normalizeH="0" baseline="0" noProof="0" dirty="0">
                    <a:ln>
                      <a:noFill/>
                    </a:ln>
                    <a:solidFill>
                      <a:srgbClr val="000000"/>
                    </a:solidFill>
                    <a:effectLst/>
                    <a:uLnTx/>
                    <a:uFillTx/>
                    <a:latin typeface="Times New Roman" pitchFamily="18" charset="0"/>
                  </a:rPr>
                  <a:t>PTO. VALDIVIA</a:t>
                </a:r>
              </a:p>
            </p:txBody>
          </p:sp>
          <p:sp>
            <p:nvSpPr>
              <p:cNvPr id="487" name="Rectangle 92"/>
              <p:cNvSpPr>
                <a:spLocks noChangeArrowheads="1"/>
              </p:cNvSpPr>
              <p:nvPr/>
            </p:nvSpPr>
            <p:spPr bwMode="auto">
              <a:xfrm>
                <a:off x="3953" y="1406"/>
                <a:ext cx="499" cy="124"/>
              </a:xfrm>
              <a:prstGeom prst="rect">
                <a:avLst/>
              </a:prstGeom>
              <a:solidFill>
                <a:srgbClr val="FFFF00">
                  <a:alpha val="50196"/>
                </a:srgbClr>
              </a:solidFill>
              <a:ln>
                <a:noFill/>
              </a:ln>
              <a:extLst/>
            </p:spPr>
            <p:style>
              <a:lnRef idx="0">
                <a:scrgbClr r="0" g="0" b="0"/>
              </a:lnRef>
              <a:fillRef idx="1002">
                <a:schemeClr val="lt1"/>
              </a:fillRef>
              <a:effectRef idx="0">
                <a:scrgbClr r="0" g="0" b="0"/>
              </a:effectRef>
              <a:fontRef idx="major"/>
            </p:style>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YARUMAL</a:t>
                </a:r>
              </a:p>
            </p:txBody>
          </p:sp>
          <p:sp>
            <p:nvSpPr>
              <p:cNvPr id="488" name="Rectangle 93"/>
              <p:cNvSpPr>
                <a:spLocks noChangeArrowheads="1"/>
              </p:cNvSpPr>
              <p:nvPr/>
            </p:nvSpPr>
            <p:spPr bwMode="auto">
              <a:xfrm>
                <a:off x="2163" y="3261"/>
                <a:ext cx="752"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EBEJICO</a:t>
                </a:r>
              </a:p>
            </p:txBody>
          </p:sp>
          <p:sp>
            <p:nvSpPr>
              <p:cNvPr id="489" name="Rectangle 94"/>
              <p:cNvSpPr>
                <a:spLocks noChangeArrowheads="1"/>
              </p:cNvSpPr>
              <p:nvPr/>
            </p:nvSpPr>
            <p:spPr bwMode="auto">
              <a:xfrm>
                <a:off x="1803" y="3167"/>
                <a:ext cx="752"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dirty="0">
                    <a:ln>
                      <a:noFill/>
                    </a:ln>
                    <a:solidFill>
                      <a:srgbClr val="000000"/>
                    </a:solidFill>
                    <a:effectLst/>
                    <a:uLnTx/>
                    <a:uFillTx/>
                    <a:latin typeface="Times New Roman" pitchFamily="18" charset="0"/>
                  </a:rPr>
                  <a:t>ANZA</a:t>
                </a:r>
              </a:p>
            </p:txBody>
          </p:sp>
          <p:sp>
            <p:nvSpPr>
              <p:cNvPr id="490" name="Rectangle 95"/>
              <p:cNvSpPr>
                <a:spLocks noChangeArrowheads="1"/>
              </p:cNvSpPr>
              <p:nvPr/>
            </p:nvSpPr>
            <p:spPr bwMode="auto">
              <a:xfrm>
                <a:off x="3704" y="2240"/>
                <a:ext cx="752" cy="160"/>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STA. ROSA </a:t>
                </a:r>
              </a:p>
              <a:p>
                <a:pPr marL="0" marR="0" lvl="0" indent="0" algn="ctr" defTabSz="914400" eaLnBrk="0" fontAlgn="auto" latinLnBrk="0" hangingPunct="0">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DE OSOS</a:t>
                </a:r>
              </a:p>
            </p:txBody>
          </p:sp>
          <p:sp>
            <p:nvSpPr>
              <p:cNvPr id="491" name="Rectangle 96"/>
              <p:cNvSpPr>
                <a:spLocks noChangeArrowheads="1"/>
              </p:cNvSpPr>
              <p:nvPr/>
            </p:nvSpPr>
            <p:spPr bwMode="auto">
              <a:xfrm>
                <a:off x="3363" y="2914"/>
                <a:ext cx="640"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SAN  PEDRO</a:t>
                </a:r>
              </a:p>
            </p:txBody>
          </p:sp>
          <p:sp>
            <p:nvSpPr>
              <p:cNvPr id="492" name="Rectangle 97"/>
              <p:cNvSpPr>
                <a:spLocks noChangeArrowheads="1"/>
              </p:cNvSpPr>
              <p:nvPr/>
            </p:nvSpPr>
            <p:spPr bwMode="auto">
              <a:xfrm>
                <a:off x="3600" y="3207"/>
                <a:ext cx="752"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COPACABANA</a:t>
                </a:r>
              </a:p>
            </p:txBody>
          </p:sp>
          <p:sp>
            <p:nvSpPr>
              <p:cNvPr id="493" name="Rectangle 98"/>
              <p:cNvSpPr>
                <a:spLocks noChangeArrowheads="1"/>
              </p:cNvSpPr>
              <p:nvPr/>
            </p:nvSpPr>
            <p:spPr bwMode="auto">
              <a:xfrm>
                <a:off x="3790" y="3112"/>
                <a:ext cx="752"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GIRARDOTA</a:t>
                </a:r>
              </a:p>
            </p:txBody>
          </p:sp>
          <p:sp>
            <p:nvSpPr>
              <p:cNvPr id="494" name="Rectangle 99"/>
              <p:cNvSpPr>
                <a:spLocks noChangeArrowheads="1"/>
              </p:cNvSpPr>
              <p:nvPr/>
            </p:nvSpPr>
            <p:spPr bwMode="auto">
              <a:xfrm>
                <a:off x="3724" y="3417"/>
                <a:ext cx="752"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GUARNE</a:t>
                </a:r>
              </a:p>
            </p:txBody>
          </p:sp>
          <p:sp>
            <p:nvSpPr>
              <p:cNvPr id="495" name="Rectangle 100"/>
              <p:cNvSpPr>
                <a:spLocks noChangeArrowheads="1"/>
              </p:cNvSpPr>
              <p:nvPr/>
            </p:nvSpPr>
            <p:spPr bwMode="auto">
              <a:xfrm>
                <a:off x="2800" y="1785"/>
                <a:ext cx="752" cy="124"/>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dirty="0">
                    <a:ln>
                      <a:noFill/>
                    </a:ln>
                    <a:solidFill>
                      <a:srgbClr val="000000"/>
                    </a:solidFill>
                    <a:effectLst/>
                    <a:uLnTx/>
                    <a:uFillTx/>
                    <a:latin typeface="Trebuchet MS" panose="020B0603020202020204" pitchFamily="34" charset="0"/>
                  </a:rPr>
                  <a:t>SAN JOSE</a:t>
                </a:r>
              </a:p>
            </p:txBody>
          </p:sp>
          <p:sp>
            <p:nvSpPr>
              <p:cNvPr id="496" name="Rectangle 101"/>
              <p:cNvSpPr>
                <a:spLocks noChangeArrowheads="1"/>
              </p:cNvSpPr>
              <p:nvPr/>
            </p:nvSpPr>
            <p:spPr bwMode="auto">
              <a:xfrm>
                <a:off x="2278" y="1809"/>
                <a:ext cx="676" cy="124"/>
              </a:xfrm>
              <a:prstGeom prst="rect">
                <a:avLst/>
              </a:prstGeom>
              <a:solidFill>
                <a:srgbClr val="33CC33">
                  <a:alpha val="50196"/>
                </a:srgbClr>
              </a:solidFill>
              <a:ln>
                <a:noFill/>
              </a:ln>
              <a:extLst/>
            </p:spPr>
            <p:style>
              <a:lnRef idx="0">
                <a:scrgbClr r="0" g="0" b="0"/>
              </a:lnRef>
              <a:fillRef idx="1002">
                <a:schemeClr val="lt1"/>
              </a:fillRef>
              <a:effectRef idx="0">
                <a:scrgbClr r="0" g="0" b="0"/>
              </a:effectRef>
              <a:fontRef idx="major"/>
            </p:style>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SABANALARGA</a:t>
                </a:r>
              </a:p>
            </p:txBody>
          </p:sp>
          <p:sp>
            <p:nvSpPr>
              <p:cNvPr id="497" name="Rectangle 102"/>
              <p:cNvSpPr>
                <a:spLocks noChangeArrowheads="1"/>
              </p:cNvSpPr>
              <p:nvPr/>
            </p:nvSpPr>
            <p:spPr bwMode="auto">
              <a:xfrm>
                <a:off x="2730" y="2784"/>
                <a:ext cx="466"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SOPETRÁN</a:t>
                </a:r>
              </a:p>
            </p:txBody>
          </p:sp>
          <p:sp>
            <p:nvSpPr>
              <p:cNvPr id="498" name="Rectangle 103"/>
              <p:cNvSpPr>
                <a:spLocks noChangeArrowheads="1"/>
              </p:cNvSpPr>
              <p:nvPr/>
            </p:nvSpPr>
            <p:spPr bwMode="auto">
              <a:xfrm>
                <a:off x="2366" y="2975"/>
                <a:ext cx="590"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SAN JERONIMO</a:t>
                </a:r>
              </a:p>
            </p:txBody>
          </p:sp>
          <p:sp>
            <p:nvSpPr>
              <p:cNvPr id="499" name="Rectangle 104"/>
              <p:cNvSpPr>
                <a:spLocks noChangeArrowheads="1"/>
              </p:cNvSpPr>
              <p:nvPr/>
            </p:nvSpPr>
            <p:spPr bwMode="auto">
              <a:xfrm>
                <a:off x="1933" y="2528"/>
                <a:ext cx="575" cy="164"/>
              </a:xfrm>
              <a:prstGeom prst="rect">
                <a:avLst/>
              </a:prstGeom>
              <a:solidFill>
                <a:srgbClr val="33CC33">
                  <a:alpha val="50196"/>
                </a:srgbClr>
              </a:solidFill>
              <a:ln>
                <a:noFill/>
              </a:ln>
              <a:extLst/>
            </p:spPr>
            <p:style>
              <a:lnRef idx="0">
                <a:scrgbClr r="0" g="0" b="0"/>
              </a:lnRef>
              <a:fillRef idx="1002">
                <a:schemeClr val="lt1"/>
              </a:fillRef>
              <a:effectRef idx="0">
                <a:scrgbClr r="0" g="0" b="0"/>
              </a:effectRef>
              <a:fontRef idx="major"/>
            </p:style>
            <p:txBody>
              <a:bodyPr wrap="square" lIns="0" tIns="46080" rIns="0" bIns="46080">
                <a:spAutoFit/>
              </a:bodyPr>
              <a:lstStyle/>
              <a:p>
                <a:pPr marL="0" marR="0" lvl="0" indent="0" algn="ctr" defTabSz="914400" eaLnBrk="0" fontAlgn="auto" latinLnBrk="0" hangingPunct="0">
                  <a:lnSpc>
                    <a:spcPts val="7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SANTA FÉ DE</a:t>
                </a:r>
              </a:p>
              <a:p>
                <a:pPr marL="0" marR="0" lvl="0" indent="0" algn="ctr" defTabSz="914400" eaLnBrk="0" fontAlgn="auto" latinLnBrk="0" hangingPunct="0">
                  <a:lnSpc>
                    <a:spcPts val="7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ANTIOQUIA</a:t>
                </a:r>
              </a:p>
            </p:txBody>
          </p:sp>
          <p:sp>
            <p:nvSpPr>
              <p:cNvPr id="500" name="Rectangle 105"/>
              <p:cNvSpPr>
                <a:spLocks noChangeArrowheads="1"/>
              </p:cNvSpPr>
              <p:nvPr/>
            </p:nvSpPr>
            <p:spPr bwMode="auto">
              <a:xfrm>
                <a:off x="1890" y="2106"/>
                <a:ext cx="521" cy="124"/>
              </a:xfrm>
              <a:prstGeom prst="rect">
                <a:avLst/>
              </a:prstGeom>
              <a:solidFill>
                <a:srgbClr val="33CC33">
                  <a:alpha val="50196"/>
                </a:srgbClr>
              </a:solidFill>
              <a:ln>
                <a:noFill/>
              </a:ln>
              <a:extLst/>
            </p:spPr>
            <p:style>
              <a:lnRef idx="0">
                <a:scrgbClr r="0" g="0" b="0"/>
              </a:lnRef>
              <a:fillRef idx="1002">
                <a:schemeClr val="lt1"/>
              </a:fillRef>
              <a:effectRef idx="0">
                <a:scrgbClr r="0" g="0" b="0"/>
              </a:effectRef>
              <a:fontRef idx="major"/>
            </p:style>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BURITICÁ</a:t>
                </a:r>
              </a:p>
            </p:txBody>
          </p:sp>
          <p:sp>
            <p:nvSpPr>
              <p:cNvPr id="501" name="Rectangle 106"/>
              <p:cNvSpPr>
                <a:spLocks noChangeArrowheads="1"/>
              </p:cNvSpPr>
              <p:nvPr/>
            </p:nvSpPr>
            <p:spPr bwMode="auto">
              <a:xfrm>
                <a:off x="2626" y="2384"/>
                <a:ext cx="468" cy="124"/>
              </a:xfrm>
              <a:prstGeom prst="rect">
                <a:avLst/>
              </a:prstGeom>
              <a:solidFill>
                <a:srgbClr val="33CC33">
                  <a:alpha val="50196"/>
                </a:srgbClr>
              </a:solidFill>
              <a:ln>
                <a:noFill/>
              </a:ln>
              <a:extLst/>
            </p:spPr>
            <p:style>
              <a:lnRef idx="0">
                <a:scrgbClr r="0" g="0" b="0"/>
              </a:lnRef>
              <a:fillRef idx="1002">
                <a:schemeClr val="lt1"/>
              </a:fillRef>
              <a:effectRef idx="0">
                <a:scrgbClr r="0" g="0" b="0"/>
              </a:effectRef>
              <a:fontRef idx="major"/>
            </p:style>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OLAYA</a:t>
                </a:r>
              </a:p>
            </p:txBody>
          </p:sp>
          <p:sp>
            <p:nvSpPr>
              <p:cNvPr id="502" name="Rectangle 107"/>
              <p:cNvSpPr>
                <a:spLocks noChangeArrowheads="1"/>
              </p:cNvSpPr>
              <p:nvPr/>
            </p:nvSpPr>
            <p:spPr bwMode="auto">
              <a:xfrm>
                <a:off x="2592" y="2544"/>
                <a:ext cx="473"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SUCRE</a:t>
                </a:r>
              </a:p>
            </p:txBody>
          </p:sp>
          <p:sp>
            <p:nvSpPr>
              <p:cNvPr id="503" name="Rectangle 108"/>
              <p:cNvSpPr>
                <a:spLocks noChangeArrowheads="1"/>
              </p:cNvSpPr>
              <p:nvPr/>
            </p:nvSpPr>
            <p:spPr bwMode="auto">
              <a:xfrm>
                <a:off x="2468" y="2203"/>
                <a:ext cx="544" cy="124"/>
              </a:xfrm>
              <a:prstGeom prst="rect">
                <a:avLst/>
              </a:prstGeom>
              <a:solidFill>
                <a:srgbClr val="33CC33">
                  <a:alpha val="50196"/>
                </a:srgbClr>
              </a:solidFill>
              <a:ln>
                <a:noFill/>
              </a:ln>
              <a:extLst/>
            </p:spPr>
            <p:style>
              <a:lnRef idx="0">
                <a:scrgbClr r="0" g="0" b="0"/>
              </a:lnRef>
              <a:fillRef idx="1002">
                <a:schemeClr val="lt1"/>
              </a:fillRef>
              <a:effectRef idx="0">
                <a:scrgbClr r="0" g="0" b="0"/>
              </a:effectRef>
              <a:fontRef idx="major"/>
            </p:style>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imes New Roman" pitchFamily="18" charset="0"/>
                  </a:rPr>
                  <a:t>LIBORINA</a:t>
                </a:r>
              </a:p>
            </p:txBody>
          </p:sp>
          <p:sp>
            <p:nvSpPr>
              <p:cNvPr id="504" name="Rectangle 109"/>
              <p:cNvSpPr>
                <a:spLocks noChangeArrowheads="1"/>
              </p:cNvSpPr>
              <p:nvPr/>
            </p:nvSpPr>
            <p:spPr bwMode="auto">
              <a:xfrm>
                <a:off x="2119" y="1318"/>
                <a:ext cx="382" cy="124"/>
              </a:xfrm>
              <a:prstGeom prst="rect">
                <a:avLst/>
              </a:prstGeom>
              <a:solidFill>
                <a:srgbClr val="33CC33">
                  <a:alpha val="50196"/>
                </a:srgbClr>
              </a:solidFill>
              <a:ln>
                <a:noFill/>
              </a:ln>
              <a:extLst/>
            </p:spPr>
            <p:style>
              <a:lnRef idx="0">
                <a:scrgbClr r="0" g="0" b="0"/>
              </a:lnRef>
              <a:fillRef idx="1002">
                <a:schemeClr val="lt1"/>
              </a:fillRef>
              <a:effectRef idx="0">
                <a:scrgbClr r="0" g="0" b="0"/>
              </a:effectRef>
              <a:fontRef idx="major"/>
            </p:style>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PEQUE</a:t>
                </a:r>
              </a:p>
            </p:txBody>
          </p:sp>
          <p:sp>
            <p:nvSpPr>
              <p:cNvPr id="505" name="Rectangle 110"/>
              <p:cNvSpPr>
                <a:spLocks noChangeArrowheads="1"/>
              </p:cNvSpPr>
              <p:nvPr/>
            </p:nvSpPr>
            <p:spPr bwMode="auto">
              <a:xfrm rot="2959564">
                <a:off x="1303" y="1877"/>
                <a:ext cx="751"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dirty="0">
                    <a:ln>
                      <a:noFill/>
                    </a:ln>
                    <a:solidFill>
                      <a:srgbClr val="000000"/>
                    </a:solidFill>
                    <a:effectLst/>
                    <a:uLnTx/>
                    <a:uFillTx/>
                    <a:latin typeface="Times New Roman" pitchFamily="18" charset="0"/>
                  </a:rPr>
                  <a:t>URABA</a:t>
                </a:r>
              </a:p>
            </p:txBody>
          </p:sp>
          <p:sp>
            <p:nvSpPr>
              <p:cNvPr id="506" name="Line 111"/>
              <p:cNvSpPr>
                <a:spLocks noChangeShapeType="1"/>
              </p:cNvSpPr>
              <p:nvPr/>
            </p:nvSpPr>
            <p:spPr bwMode="auto">
              <a:xfrm>
                <a:off x="2320" y="3448"/>
                <a:ext cx="1" cy="192"/>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07" name="Oval 112"/>
              <p:cNvSpPr>
                <a:spLocks noChangeArrowheads="1"/>
              </p:cNvSpPr>
              <p:nvPr/>
            </p:nvSpPr>
            <p:spPr bwMode="auto">
              <a:xfrm rot="20100000">
                <a:off x="2926" y="955"/>
                <a:ext cx="343" cy="293"/>
              </a:xfrm>
              <a:prstGeom prst="ellipse">
                <a:avLst/>
              </a:prstGeom>
              <a:noFill/>
              <a:ln w="2857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altLang="es-CO" sz="1800" b="0" i="0" u="none" strike="noStrike" kern="0" cap="none" spc="0" normalizeH="0" baseline="0" noProof="0">
                  <a:ln>
                    <a:noFill/>
                  </a:ln>
                  <a:solidFill>
                    <a:srgbClr val="000000"/>
                  </a:solidFill>
                  <a:effectLst/>
                  <a:uLnTx/>
                  <a:uFillTx/>
                </a:endParaRPr>
              </a:p>
            </p:txBody>
          </p:sp>
          <p:sp>
            <p:nvSpPr>
              <p:cNvPr id="508" name="Line 113"/>
              <p:cNvSpPr>
                <a:spLocks noChangeShapeType="1"/>
              </p:cNvSpPr>
              <p:nvPr/>
            </p:nvSpPr>
            <p:spPr bwMode="auto">
              <a:xfrm>
                <a:off x="2569" y="2585"/>
                <a:ext cx="39" cy="0"/>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09" name="Rectangle 114"/>
              <p:cNvSpPr>
                <a:spLocks noChangeArrowheads="1"/>
              </p:cNvSpPr>
              <p:nvPr/>
            </p:nvSpPr>
            <p:spPr bwMode="auto">
              <a:xfrm>
                <a:off x="3119" y="2562"/>
                <a:ext cx="633"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ENTRERRIOS</a:t>
                </a:r>
              </a:p>
            </p:txBody>
          </p:sp>
          <p:sp>
            <p:nvSpPr>
              <p:cNvPr id="510" name="Rectangle 115"/>
              <p:cNvSpPr>
                <a:spLocks noChangeArrowheads="1"/>
              </p:cNvSpPr>
              <p:nvPr/>
            </p:nvSpPr>
            <p:spPr bwMode="auto">
              <a:xfrm>
                <a:off x="1234" y="2952"/>
                <a:ext cx="1088" cy="238"/>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625"/>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1000" b="1" i="0" u="none" strike="noStrike" kern="0" cap="none" spc="0" normalizeH="0" baseline="0" noProof="0" dirty="0">
                    <a:ln>
                      <a:noFill/>
                    </a:ln>
                    <a:solidFill>
                      <a:srgbClr val="000000"/>
                    </a:solidFill>
                    <a:effectLst/>
                    <a:uLnTx/>
                    <a:uFillTx/>
                    <a:latin typeface="Trebuchet MS" panose="020B0603020202020204" pitchFamily="34" charset="0"/>
                  </a:rPr>
                  <a:t>CONEXIÓN VIAL </a:t>
                </a:r>
              </a:p>
              <a:p>
                <a:pPr marL="0" marR="0" lvl="0" indent="0" algn="ctr" defTabSz="914400" eaLnBrk="0" fontAlgn="auto" latinLnBrk="0" hangingPunct="0">
                  <a:lnSpc>
                    <a:spcPct val="100000"/>
                  </a:lnSpc>
                  <a:spcBef>
                    <a:spcPts val="63"/>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1000" b="1" i="0" u="none" strike="noStrike" kern="0" cap="none" spc="0" normalizeH="0" baseline="0" noProof="0" dirty="0">
                    <a:ln>
                      <a:noFill/>
                    </a:ln>
                    <a:solidFill>
                      <a:srgbClr val="000000"/>
                    </a:solidFill>
                    <a:effectLst/>
                    <a:uLnTx/>
                    <a:uFillTx/>
                    <a:latin typeface="Trebuchet MS" panose="020B0603020202020204" pitchFamily="34" charset="0"/>
                  </a:rPr>
                  <a:t>ABURRÁ-CAUCA </a:t>
                </a:r>
              </a:p>
            </p:txBody>
          </p:sp>
          <p:sp>
            <p:nvSpPr>
              <p:cNvPr id="511" name="Text Box 116"/>
              <p:cNvSpPr txBox="1">
                <a:spLocks noChangeArrowheads="1"/>
              </p:cNvSpPr>
              <p:nvPr/>
            </p:nvSpPr>
            <p:spPr bwMode="auto">
              <a:xfrm>
                <a:off x="2597" y="2203"/>
                <a:ext cx="153" cy="125"/>
              </a:xfrm>
              <a:prstGeom prst="rect">
                <a:avLst/>
              </a:prstGeom>
              <a:noFill/>
              <a:ln w="9525">
                <a:noFill/>
                <a:miter lim="800000"/>
                <a:headEnd/>
                <a:tailEnd/>
              </a:ln>
            </p:spPr>
            <p:txBody>
              <a:bodyPr wrap="none" lIns="90000" tIns="46800" rIns="90000" bIns="46800">
                <a:spAutoFit/>
              </a:bodyPr>
              <a:lstStyle/>
              <a:p>
                <a:pPr marL="0" marR="0" lvl="0" indent="0" defTabSz="914400" eaLnBrk="0" fontAlgn="auto" latinLnBrk="0" hangingPunct="0">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0" i="0" u="none" strike="noStrike" kern="0" cap="none" spc="0" normalizeH="0" baseline="0" noProof="0">
                    <a:ln>
                      <a:noFill/>
                    </a:ln>
                    <a:solidFill>
                      <a:srgbClr val="000000"/>
                    </a:solidFill>
                    <a:effectLst/>
                    <a:uLnTx/>
                    <a:uFillTx/>
                    <a:latin typeface="Trebuchet MS" panose="020B0603020202020204" pitchFamily="34" charset="0"/>
                    <a:ea typeface="Arial Unicode MS" pitchFamily="34" charset="-128"/>
                    <a:cs typeface="Arial Unicode MS" pitchFamily="34" charset="-128"/>
                  </a:rPr>
                  <a:t>.</a:t>
                </a:r>
              </a:p>
            </p:txBody>
          </p:sp>
          <p:sp>
            <p:nvSpPr>
              <p:cNvPr id="512" name="Text Box 117"/>
              <p:cNvSpPr txBox="1">
                <a:spLocks noChangeArrowheads="1"/>
              </p:cNvSpPr>
              <p:nvPr/>
            </p:nvSpPr>
            <p:spPr bwMode="auto">
              <a:xfrm>
                <a:off x="2642" y="2293"/>
                <a:ext cx="180" cy="376"/>
              </a:xfrm>
              <a:prstGeom prst="rect">
                <a:avLst/>
              </a:prstGeom>
              <a:noFill/>
              <a:ln w="9525">
                <a:noFill/>
                <a:miter lim="800000"/>
                <a:headEnd/>
                <a:tailEnd/>
              </a:ln>
            </p:spPr>
            <p:txBody>
              <a:bodyPr wrap="none" lIns="90000" tIns="46800" rIns="90000" bIns="46800">
                <a:spAutoFit/>
              </a:bodyPr>
              <a:lstStyle/>
              <a:p>
                <a:pPr marL="0" marR="0" lvl="0" indent="0" defTabSz="914400" eaLnBrk="0" fontAlgn="auto" latinLnBrk="0" hangingPunct="0">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3300" b="0" i="0" u="none" strike="noStrike" kern="0" cap="none" spc="0" normalizeH="0" baseline="0" noProof="0">
                    <a:ln>
                      <a:noFill/>
                    </a:ln>
                    <a:solidFill>
                      <a:srgbClr val="000000"/>
                    </a:solidFill>
                    <a:effectLst/>
                    <a:uLnTx/>
                    <a:uFillTx/>
                    <a:latin typeface="Times New Roman" pitchFamily="18" charset="0"/>
                    <a:ea typeface="Arial Unicode MS" pitchFamily="34" charset="-128"/>
                    <a:cs typeface="Arial Unicode MS" pitchFamily="34" charset="-128"/>
                  </a:rPr>
                  <a:t>.</a:t>
                </a:r>
              </a:p>
            </p:txBody>
          </p:sp>
          <p:sp>
            <p:nvSpPr>
              <p:cNvPr id="513" name="Line 118"/>
              <p:cNvSpPr>
                <a:spLocks noChangeShapeType="1"/>
              </p:cNvSpPr>
              <p:nvPr/>
            </p:nvSpPr>
            <p:spPr bwMode="auto">
              <a:xfrm flipH="1">
                <a:off x="2097" y="3065"/>
                <a:ext cx="138" cy="1"/>
              </a:xfrm>
              <a:prstGeom prst="line">
                <a:avLst/>
              </a:prstGeom>
              <a:noFill/>
              <a:ln w="28575">
                <a:solidFill>
                  <a:srgbClr val="0000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14" name="AutoShape 119"/>
              <p:cNvSpPr>
                <a:spLocks noChangeArrowheads="1"/>
              </p:cNvSpPr>
              <p:nvPr/>
            </p:nvSpPr>
            <p:spPr bwMode="auto">
              <a:xfrm>
                <a:off x="3080" y="3392"/>
                <a:ext cx="208" cy="96"/>
              </a:xfrm>
              <a:custGeom>
                <a:avLst/>
                <a:gdLst>
                  <a:gd name="T0" fmla="*/ 2147359626 w 208"/>
                  <a:gd name="T1" fmla="*/ 2147359573 h 96"/>
                  <a:gd name="T2" fmla="*/ 2147359626 w 208"/>
                  <a:gd name="T3" fmla="*/ 2147359573 h 96"/>
                  <a:gd name="T4" fmla="*/ 2147359626 w 208"/>
                  <a:gd name="T5" fmla="*/ 2147359573 h 96"/>
                  <a:gd name="T6" fmla="*/ 2147359626 w 208"/>
                  <a:gd name="T7" fmla="*/ 2147359573 h 96"/>
                  <a:gd name="T8" fmla="*/ 2147359626 w 208"/>
                  <a:gd name="T9" fmla="*/ 2147359573 h 96"/>
                  <a:gd name="T10" fmla="*/ 2147359626 w 208"/>
                  <a:gd name="T11" fmla="*/ 2147359573 h 96"/>
                  <a:gd name="T12" fmla="*/ 0 w 208"/>
                  <a:gd name="T13" fmla="*/ 0 h 96"/>
                  <a:gd name="T14" fmla="*/ 0 60000 65536"/>
                  <a:gd name="T15" fmla="*/ 0 60000 65536"/>
                  <a:gd name="T16" fmla="*/ 0 60000 65536"/>
                  <a:gd name="T17" fmla="*/ 0 60000 65536"/>
                  <a:gd name="T18" fmla="*/ 0 60000 65536"/>
                  <a:gd name="T19" fmla="*/ 0 60000 65536"/>
                  <a:gd name="T20" fmla="*/ 0 60000 65536"/>
                  <a:gd name="T21" fmla="*/ 0 w 208"/>
                  <a:gd name="T22" fmla="*/ 0 h 96"/>
                  <a:gd name="T23" fmla="*/ 208 w 208"/>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8" h="96">
                    <a:moveTo>
                      <a:pt x="208" y="84"/>
                    </a:moveTo>
                    <a:cubicBezTo>
                      <a:pt x="172" y="96"/>
                      <a:pt x="122" y="83"/>
                      <a:pt x="84" y="80"/>
                    </a:cubicBezTo>
                    <a:cubicBezTo>
                      <a:pt x="69" y="75"/>
                      <a:pt x="65" y="65"/>
                      <a:pt x="52" y="56"/>
                    </a:cubicBezTo>
                    <a:cubicBezTo>
                      <a:pt x="42" y="26"/>
                      <a:pt x="57" y="62"/>
                      <a:pt x="36" y="36"/>
                    </a:cubicBezTo>
                    <a:cubicBezTo>
                      <a:pt x="33" y="33"/>
                      <a:pt x="34" y="28"/>
                      <a:pt x="32" y="24"/>
                    </a:cubicBezTo>
                    <a:cubicBezTo>
                      <a:pt x="30" y="20"/>
                      <a:pt x="27" y="15"/>
                      <a:pt x="24" y="12"/>
                    </a:cubicBezTo>
                    <a:cubicBezTo>
                      <a:pt x="18" y="6"/>
                      <a:pt x="0" y="0"/>
                      <a:pt x="0" y="0"/>
                    </a:cubicBezTo>
                  </a:path>
                </a:pathLst>
              </a:custGeom>
              <a:noFill/>
              <a:ln w="28575">
                <a:solidFill>
                  <a:srgbClr val="FF33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15" name="AutoShape 120"/>
              <p:cNvSpPr>
                <a:spLocks noChangeArrowheads="1"/>
              </p:cNvSpPr>
              <p:nvPr/>
            </p:nvSpPr>
            <p:spPr bwMode="auto">
              <a:xfrm>
                <a:off x="2548" y="2796"/>
                <a:ext cx="436" cy="512"/>
              </a:xfrm>
              <a:custGeom>
                <a:avLst/>
                <a:gdLst>
                  <a:gd name="T0" fmla="*/ 2147359655 w 436"/>
                  <a:gd name="T1" fmla="*/ 2147359232 h 512"/>
                  <a:gd name="T2" fmla="*/ 2147359655 w 436"/>
                  <a:gd name="T3" fmla="*/ 2147359232 h 512"/>
                  <a:gd name="T4" fmla="*/ 2147359655 w 436"/>
                  <a:gd name="T5" fmla="*/ 2147359232 h 512"/>
                  <a:gd name="T6" fmla="*/ 2147359655 w 436"/>
                  <a:gd name="T7" fmla="*/ 2147359232 h 512"/>
                  <a:gd name="T8" fmla="*/ 2147359655 w 436"/>
                  <a:gd name="T9" fmla="*/ 2147359232 h 512"/>
                  <a:gd name="T10" fmla="*/ 2147359655 w 436"/>
                  <a:gd name="T11" fmla="*/ 2147359232 h 512"/>
                  <a:gd name="T12" fmla="*/ 2147359655 w 436"/>
                  <a:gd name="T13" fmla="*/ 2147359232 h 512"/>
                  <a:gd name="T14" fmla="*/ 2147359655 w 436"/>
                  <a:gd name="T15" fmla="*/ 2147359232 h 512"/>
                  <a:gd name="T16" fmla="*/ 2147359655 w 436"/>
                  <a:gd name="T17" fmla="*/ 2147359232 h 512"/>
                  <a:gd name="T18" fmla="*/ 2147359655 w 436"/>
                  <a:gd name="T19" fmla="*/ 2147359232 h 512"/>
                  <a:gd name="T20" fmla="*/ 2147359655 w 436"/>
                  <a:gd name="T21" fmla="*/ 2147359232 h 512"/>
                  <a:gd name="T22" fmla="*/ 2147359655 w 436"/>
                  <a:gd name="T23" fmla="*/ 2147359232 h 512"/>
                  <a:gd name="T24" fmla="*/ 2147359655 w 436"/>
                  <a:gd name="T25" fmla="*/ 2147359232 h 512"/>
                  <a:gd name="T26" fmla="*/ 2147359655 w 436"/>
                  <a:gd name="T27" fmla="*/ 2147359232 h 512"/>
                  <a:gd name="T28" fmla="*/ 2147359655 w 436"/>
                  <a:gd name="T29" fmla="*/ 2147359232 h 512"/>
                  <a:gd name="T30" fmla="*/ 2147359655 w 436"/>
                  <a:gd name="T31" fmla="*/ 2147359232 h 512"/>
                  <a:gd name="T32" fmla="*/ 0 w 436"/>
                  <a:gd name="T33" fmla="*/ 0 h 5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6"/>
                  <a:gd name="T52" fmla="*/ 0 h 512"/>
                  <a:gd name="T53" fmla="*/ 436 w 436"/>
                  <a:gd name="T54" fmla="*/ 512 h 5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6" h="512">
                    <a:moveTo>
                      <a:pt x="436" y="512"/>
                    </a:moveTo>
                    <a:cubicBezTo>
                      <a:pt x="419" y="506"/>
                      <a:pt x="423" y="498"/>
                      <a:pt x="408" y="488"/>
                    </a:cubicBezTo>
                    <a:cubicBezTo>
                      <a:pt x="401" y="468"/>
                      <a:pt x="393" y="455"/>
                      <a:pt x="376" y="444"/>
                    </a:cubicBezTo>
                    <a:cubicBezTo>
                      <a:pt x="375" y="440"/>
                      <a:pt x="375" y="435"/>
                      <a:pt x="372" y="432"/>
                    </a:cubicBezTo>
                    <a:cubicBezTo>
                      <a:pt x="369" y="429"/>
                      <a:pt x="362" y="431"/>
                      <a:pt x="360" y="428"/>
                    </a:cubicBezTo>
                    <a:cubicBezTo>
                      <a:pt x="347" y="410"/>
                      <a:pt x="343" y="372"/>
                      <a:pt x="336" y="352"/>
                    </a:cubicBezTo>
                    <a:cubicBezTo>
                      <a:pt x="333" y="342"/>
                      <a:pt x="322" y="337"/>
                      <a:pt x="316" y="328"/>
                    </a:cubicBezTo>
                    <a:cubicBezTo>
                      <a:pt x="337" y="321"/>
                      <a:pt x="338" y="299"/>
                      <a:pt x="316" y="292"/>
                    </a:cubicBezTo>
                    <a:cubicBezTo>
                      <a:pt x="310" y="273"/>
                      <a:pt x="322" y="278"/>
                      <a:pt x="328" y="260"/>
                    </a:cubicBezTo>
                    <a:cubicBezTo>
                      <a:pt x="323" y="242"/>
                      <a:pt x="322" y="234"/>
                      <a:pt x="304" y="228"/>
                    </a:cubicBezTo>
                    <a:cubicBezTo>
                      <a:pt x="293" y="196"/>
                      <a:pt x="260" y="194"/>
                      <a:pt x="232" y="180"/>
                    </a:cubicBezTo>
                    <a:cubicBezTo>
                      <a:pt x="220" y="174"/>
                      <a:pt x="196" y="160"/>
                      <a:pt x="196" y="160"/>
                    </a:cubicBezTo>
                    <a:cubicBezTo>
                      <a:pt x="177" y="131"/>
                      <a:pt x="166" y="117"/>
                      <a:pt x="132" y="108"/>
                    </a:cubicBezTo>
                    <a:cubicBezTo>
                      <a:pt x="113" y="80"/>
                      <a:pt x="124" y="89"/>
                      <a:pt x="104" y="76"/>
                    </a:cubicBezTo>
                    <a:cubicBezTo>
                      <a:pt x="87" y="50"/>
                      <a:pt x="62" y="38"/>
                      <a:pt x="36" y="24"/>
                    </a:cubicBezTo>
                    <a:cubicBezTo>
                      <a:pt x="28" y="19"/>
                      <a:pt x="20" y="13"/>
                      <a:pt x="12" y="8"/>
                    </a:cubicBezTo>
                    <a:cubicBezTo>
                      <a:pt x="8" y="5"/>
                      <a:pt x="0" y="0"/>
                      <a:pt x="0" y="0"/>
                    </a:cubicBezTo>
                  </a:path>
                </a:pathLst>
              </a:custGeom>
              <a:noFill/>
              <a:ln w="28575">
                <a:solidFill>
                  <a:srgbClr val="FF33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16" name="AutoShape 121"/>
              <p:cNvSpPr>
                <a:spLocks noChangeArrowheads="1"/>
              </p:cNvSpPr>
              <p:nvPr/>
            </p:nvSpPr>
            <p:spPr bwMode="auto">
              <a:xfrm>
                <a:off x="2726" y="886"/>
                <a:ext cx="334" cy="376"/>
              </a:xfrm>
              <a:custGeom>
                <a:avLst/>
                <a:gdLst>
                  <a:gd name="T0" fmla="*/ 0 w 334"/>
                  <a:gd name="T1" fmla="*/ 0 h 376"/>
                  <a:gd name="T2" fmla="*/ 2147359471 w 334"/>
                  <a:gd name="T3" fmla="*/ 2147359559 h 376"/>
                  <a:gd name="T4" fmla="*/ 2147359471 w 334"/>
                  <a:gd name="T5" fmla="*/ 2147359559 h 376"/>
                  <a:gd name="T6" fmla="*/ 2147359471 w 334"/>
                  <a:gd name="T7" fmla="*/ 2147359559 h 376"/>
                  <a:gd name="T8" fmla="*/ 2147359471 w 334"/>
                  <a:gd name="T9" fmla="*/ 2147359559 h 376"/>
                  <a:gd name="T10" fmla="*/ 2147359471 w 334"/>
                  <a:gd name="T11" fmla="*/ 2147359559 h 376"/>
                  <a:gd name="T12" fmla="*/ 2147359471 w 334"/>
                  <a:gd name="T13" fmla="*/ 2147359559 h 376"/>
                  <a:gd name="T14" fmla="*/ 2147359471 w 334"/>
                  <a:gd name="T15" fmla="*/ 2147359559 h 376"/>
                  <a:gd name="T16" fmla="*/ 2147359471 w 334"/>
                  <a:gd name="T17" fmla="*/ 2147359559 h 376"/>
                  <a:gd name="T18" fmla="*/ 2147359471 w 334"/>
                  <a:gd name="T19" fmla="*/ 2147359559 h 376"/>
                  <a:gd name="T20" fmla="*/ 2147359471 w 334"/>
                  <a:gd name="T21" fmla="*/ 2147359559 h 376"/>
                  <a:gd name="T22" fmla="*/ 2147359471 w 334"/>
                  <a:gd name="T23" fmla="*/ 2147359559 h 376"/>
                  <a:gd name="T24" fmla="*/ 2147359471 w 334"/>
                  <a:gd name="T25" fmla="*/ 2147359559 h 376"/>
                  <a:gd name="T26" fmla="*/ 2147359471 w 334"/>
                  <a:gd name="T27" fmla="*/ 2147359559 h 376"/>
                  <a:gd name="T28" fmla="*/ 2147359471 w 334"/>
                  <a:gd name="T29" fmla="*/ 2147359559 h 376"/>
                  <a:gd name="T30" fmla="*/ 2147359471 w 334"/>
                  <a:gd name="T31" fmla="*/ 2147359559 h 376"/>
                  <a:gd name="T32" fmla="*/ 2147359471 w 334"/>
                  <a:gd name="T33" fmla="*/ 2147359559 h 376"/>
                  <a:gd name="T34" fmla="*/ 2147359471 w 334"/>
                  <a:gd name="T35" fmla="*/ 2147359559 h 376"/>
                  <a:gd name="T36" fmla="*/ 2147359471 w 334"/>
                  <a:gd name="T37" fmla="*/ 2147359559 h 376"/>
                  <a:gd name="T38" fmla="*/ 2147359471 w 334"/>
                  <a:gd name="T39" fmla="*/ 2147359559 h 376"/>
                  <a:gd name="T40" fmla="*/ 2147359471 w 334"/>
                  <a:gd name="T41" fmla="*/ 2147359559 h 376"/>
                  <a:gd name="T42" fmla="*/ 2147359471 w 334"/>
                  <a:gd name="T43" fmla="*/ 2147359559 h 376"/>
                  <a:gd name="T44" fmla="*/ 2147359471 w 334"/>
                  <a:gd name="T45" fmla="*/ 2147359559 h 376"/>
                  <a:gd name="T46" fmla="*/ 2147359471 w 334"/>
                  <a:gd name="T47" fmla="*/ 2147359559 h 376"/>
                  <a:gd name="T48" fmla="*/ 2147359471 w 334"/>
                  <a:gd name="T49" fmla="*/ 2147359559 h 376"/>
                  <a:gd name="T50" fmla="*/ 2147359471 w 334"/>
                  <a:gd name="T51" fmla="*/ 2147359559 h 376"/>
                  <a:gd name="T52" fmla="*/ 2147359471 w 334"/>
                  <a:gd name="T53" fmla="*/ 2147359559 h 376"/>
                  <a:gd name="T54" fmla="*/ 2147359471 w 334"/>
                  <a:gd name="T55" fmla="*/ 2147359559 h 376"/>
                  <a:gd name="T56" fmla="*/ 2147359471 w 334"/>
                  <a:gd name="T57" fmla="*/ 2147359559 h 3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34"/>
                  <a:gd name="T88" fmla="*/ 0 h 376"/>
                  <a:gd name="T89" fmla="*/ 334 w 334"/>
                  <a:gd name="T90" fmla="*/ 376 h 3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34" h="376">
                    <a:moveTo>
                      <a:pt x="0" y="0"/>
                    </a:moveTo>
                    <a:cubicBezTo>
                      <a:pt x="5" y="7"/>
                      <a:pt x="11" y="11"/>
                      <a:pt x="16" y="18"/>
                    </a:cubicBezTo>
                    <a:cubicBezTo>
                      <a:pt x="19" y="49"/>
                      <a:pt x="17" y="43"/>
                      <a:pt x="46" y="40"/>
                    </a:cubicBezTo>
                    <a:cubicBezTo>
                      <a:pt x="57" y="36"/>
                      <a:pt x="50" y="39"/>
                      <a:pt x="64" y="30"/>
                    </a:cubicBezTo>
                    <a:cubicBezTo>
                      <a:pt x="69" y="27"/>
                      <a:pt x="76" y="28"/>
                      <a:pt x="82" y="26"/>
                    </a:cubicBezTo>
                    <a:cubicBezTo>
                      <a:pt x="92" y="29"/>
                      <a:pt x="86" y="34"/>
                      <a:pt x="94" y="40"/>
                    </a:cubicBezTo>
                    <a:cubicBezTo>
                      <a:pt x="99" y="44"/>
                      <a:pt x="107" y="43"/>
                      <a:pt x="114" y="44"/>
                    </a:cubicBezTo>
                    <a:cubicBezTo>
                      <a:pt x="116" y="45"/>
                      <a:pt x="118" y="45"/>
                      <a:pt x="120" y="46"/>
                    </a:cubicBezTo>
                    <a:cubicBezTo>
                      <a:pt x="122" y="48"/>
                      <a:pt x="122" y="51"/>
                      <a:pt x="124" y="52"/>
                    </a:cubicBezTo>
                    <a:cubicBezTo>
                      <a:pt x="132" y="55"/>
                      <a:pt x="140" y="54"/>
                      <a:pt x="148" y="56"/>
                    </a:cubicBezTo>
                    <a:cubicBezTo>
                      <a:pt x="153" y="71"/>
                      <a:pt x="151" y="64"/>
                      <a:pt x="154" y="78"/>
                    </a:cubicBezTo>
                    <a:cubicBezTo>
                      <a:pt x="153" y="85"/>
                      <a:pt x="155" y="93"/>
                      <a:pt x="152" y="100"/>
                    </a:cubicBezTo>
                    <a:cubicBezTo>
                      <a:pt x="150" y="104"/>
                      <a:pt x="140" y="108"/>
                      <a:pt x="140" y="108"/>
                    </a:cubicBezTo>
                    <a:cubicBezTo>
                      <a:pt x="136" y="121"/>
                      <a:pt x="147" y="124"/>
                      <a:pt x="158" y="126"/>
                    </a:cubicBezTo>
                    <a:cubicBezTo>
                      <a:pt x="159" y="128"/>
                      <a:pt x="158" y="131"/>
                      <a:pt x="160" y="132"/>
                    </a:cubicBezTo>
                    <a:cubicBezTo>
                      <a:pt x="166" y="134"/>
                      <a:pt x="176" y="128"/>
                      <a:pt x="180" y="134"/>
                    </a:cubicBezTo>
                    <a:cubicBezTo>
                      <a:pt x="194" y="155"/>
                      <a:pt x="181" y="157"/>
                      <a:pt x="172" y="160"/>
                    </a:cubicBezTo>
                    <a:cubicBezTo>
                      <a:pt x="168" y="172"/>
                      <a:pt x="177" y="176"/>
                      <a:pt x="182" y="186"/>
                    </a:cubicBezTo>
                    <a:cubicBezTo>
                      <a:pt x="179" y="195"/>
                      <a:pt x="167" y="198"/>
                      <a:pt x="180" y="194"/>
                    </a:cubicBezTo>
                    <a:cubicBezTo>
                      <a:pt x="176" y="209"/>
                      <a:pt x="197" y="214"/>
                      <a:pt x="210" y="216"/>
                    </a:cubicBezTo>
                    <a:cubicBezTo>
                      <a:pt x="213" y="225"/>
                      <a:pt x="217" y="224"/>
                      <a:pt x="226" y="226"/>
                    </a:cubicBezTo>
                    <a:cubicBezTo>
                      <a:pt x="241" y="221"/>
                      <a:pt x="223" y="225"/>
                      <a:pt x="234" y="242"/>
                    </a:cubicBezTo>
                    <a:cubicBezTo>
                      <a:pt x="236" y="246"/>
                      <a:pt x="246" y="246"/>
                      <a:pt x="246" y="246"/>
                    </a:cubicBezTo>
                    <a:cubicBezTo>
                      <a:pt x="251" y="254"/>
                      <a:pt x="257" y="289"/>
                      <a:pt x="266" y="294"/>
                    </a:cubicBezTo>
                    <a:cubicBezTo>
                      <a:pt x="289" y="305"/>
                      <a:pt x="270" y="290"/>
                      <a:pt x="284" y="298"/>
                    </a:cubicBezTo>
                    <a:cubicBezTo>
                      <a:pt x="288" y="300"/>
                      <a:pt x="296" y="306"/>
                      <a:pt x="296" y="306"/>
                    </a:cubicBezTo>
                    <a:cubicBezTo>
                      <a:pt x="301" y="314"/>
                      <a:pt x="294" y="322"/>
                      <a:pt x="300" y="328"/>
                    </a:cubicBezTo>
                    <a:cubicBezTo>
                      <a:pt x="303" y="331"/>
                      <a:pt x="314" y="335"/>
                      <a:pt x="318" y="336"/>
                    </a:cubicBezTo>
                    <a:cubicBezTo>
                      <a:pt x="315" y="349"/>
                      <a:pt x="316" y="376"/>
                      <a:pt x="334" y="376"/>
                    </a:cubicBezTo>
                  </a:path>
                </a:pathLst>
              </a:custGeom>
              <a:noFill/>
              <a:ln w="28575">
                <a:solidFill>
                  <a:srgbClr val="FF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17" name="AutoShape 122"/>
              <p:cNvSpPr>
                <a:spLocks noChangeArrowheads="1"/>
              </p:cNvSpPr>
              <p:nvPr/>
            </p:nvSpPr>
            <p:spPr bwMode="auto">
              <a:xfrm>
                <a:off x="3058" y="1276"/>
                <a:ext cx="120" cy="240"/>
              </a:xfrm>
              <a:custGeom>
                <a:avLst/>
                <a:gdLst>
                  <a:gd name="T0" fmla="*/ 2147359710 w 120"/>
                  <a:gd name="T1" fmla="*/ 0 h 240"/>
                  <a:gd name="T2" fmla="*/ 2147359710 w 120"/>
                  <a:gd name="T3" fmla="*/ 2147359710 h 240"/>
                  <a:gd name="T4" fmla="*/ 2147359710 w 120"/>
                  <a:gd name="T5" fmla="*/ 2147359710 h 240"/>
                  <a:gd name="T6" fmla="*/ 2147359710 w 120"/>
                  <a:gd name="T7" fmla="*/ 2147359710 h 240"/>
                  <a:gd name="T8" fmla="*/ 2147359710 w 120"/>
                  <a:gd name="T9" fmla="*/ 2147359710 h 240"/>
                  <a:gd name="T10" fmla="*/ 2147359710 w 120"/>
                  <a:gd name="T11" fmla="*/ 2147359710 h 240"/>
                  <a:gd name="T12" fmla="*/ 2147359710 w 120"/>
                  <a:gd name="T13" fmla="*/ 2147359710 h 240"/>
                  <a:gd name="T14" fmla="*/ 2147359710 w 120"/>
                  <a:gd name="T15" fmla="*/ 2147359710 h 240"/>
                  <a:gd name="T16" fmla="*/ 2147359710 w 120"/>
                  <a:gd name="T17" fmla="*/ 2147359710 h 240"/>
                  <a:gd name="T18" fmla="*/ 2147359710 w 120"/>
                  <a:gd name="T19" fmla="*/ 2147359710 h 240"/>
                  <a:gd name="T20" fmla="*/ 2147359710 w 120"/>
                  <a:gd name="T21" fmla="*/ 2147359710 h 240"/>
                  <a:gd name="T22" fmla="*/ 2147359710 w 120"/>
                  <a:gd name="T23" fmla="*/ 2147359710 h 240"/>
                  <a:gd name="T24" fmla="*/ 2147359710 w 120"/>
                  <a:gd name="T25" fmla="*/ 2147359710 h 240"/>
                  <a:gd name="T26" fmla="*/ 2147359710 w 120"/>
                  <a:gd name="T27" fmla="*/ 2147359710 h 240"/>
                  <a:gd name="T28" fmla="*/ 2147359710 w 120"/>
                  <a:gd name="T29" fmla="*/ 2147359710 h 2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0"/>
                  <a:gd name="T46" fmla="*/ 0 h 240"/>
                  <a:gd name="T47" fmla="*/ 120 w 120"/>
                  <a:gd name="T48" fmla="*/ 240 h 2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0" h="240">
                    <a:moveTo>
                      <a:pt x="12" y="0"/>
                    </a:moveTo>
                    <a:cubicBezTo>
                      <a:pt x="8" y="12"/>
                      <a:pt x="0" y="11"/>
                      <a:pt x="18" y="14"/>
                    </a:cubicBezTo>
                    <a:cubicBezTo>
                      <a:pt x="23" y="30"/>
                      <a:pt x="18" y="25"/>
                      <a:pt x="36" y="28"/>
                    </a:cubicBezTo>
                    <a:cubicBezTo>
                      <a:pt x="51" y="38"/>
                      <a:pt x="34" y="37"/>
                      <a:pt x="62" y="40"/>
                    </a:cubicBezTo>
                    <a:cubicBezTo>
                      <a:pt x="68" y="57"/>
                      <a:pt x="62" y="51"/>
                      <a:pt x="82" y="54"/>
                    </a:cubicBezTo>
                    <a:cubicBezTo>
                      <a:pt x="76" y="71"/>
                      <a:pt x="81" y="51"/>
                      <a:pt x="86" y="62"/>
                    </a:cubicBezTo>
                    <a:cubicBezTo>
                      <a:pt x="93" y="77"/>
                      <a:pt x="82" y="82"/>
                      <a:pt x="98" y="86"/>
                    </a:cubicBezTo>
                    <a:cubicBezTo>
                      <a:pt x="105" y="91"/>
                      <a:pt x="109" y="91"/>
                      <a:pt x="114" y="98"/>
                    </a:cubicBezTo>
                    <a:cubicBezTo>
                      <a:pt x="117" y="110"/>
                      <a:pt x="112" y="119"/>
                      <a:pt x="120" y="130"/>
                    </a:cubicBezTo>
                    <a:cubicBezTo>
                      <a:pt x="119" y="139"/>
                      <a:pt x="118" y="166"/>
                      <a:pt x="114" y="176"/>
                    </a:cubicBezTo>
                    <a:cubicBezTo>
                      <a:pt x="112" y="181"/>
                      <a:pt x="106" y="188"/>
                      <a:pt x="106" y="188"/>
                    </a:cubicBezTo>
                    <a:cubicBezTo>
                      <a:pt x="104" y="197"/>
                      <a:pt x="103" y="202"/>
                      <a:pt x="98" y="210"/>
                    </a:cubicBezTo>
                    <a:cubicBezTo>
                      <a:pt x="96" y="220"/>
                      <a:pt x="96" y="225"/>
                      <a:pt x="86" y="228"/>
                    </a:cubicBezTo>
                    <a:cubicBezTo>
                      <a:pt x="83" y="238"/>
                      <a:pt x="87" y="232"/>
                      <a:pt x="78" y="236"/>
                    </a:cubicBezTo>
                    <a:cubicBezTo>
                      <a:pt x="76" y="237"/>
                      <a:pt x="72" y="240"/>
                      <a:pt x="72" y="240"/>
                    </a:cubicBezTo>
                  </a:path>
                </a:pathLst>
              </a:custGeom>
              <a:noFill/>
              <a:ln w="28575">
                <a:solidFill>
                  <a:srgbClr val="FF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18" name="AutoShape 123"/>
              <p:cNvSpPr>
                <a:spLocks noChangeArrowheads="1"/>
              </p:cNvSpPr>
              <p:nvPr/>
            </p:nvSpPr>
            <p:spPr bwMode="auto">
              <a:xfrm>
                <a:off x="3047" y="1524"/>
                <a:ext cx="109" cy="229"/>
              </a:xfrm>
              <a:custGeom>
                <a:avLst/>
                <a:gdLst>
                  <a:gd name="T0" fmla="*/ 2147359655 w 109"/>
                  <a:gd name="T1" fmla="*/ 0 h 229"/>
                  <a:gd name="T2" fmla="*/ 2147359655 w 109"/>
                  <a:gd name="T3" fmla="*/ 2147359684 h 229"/>
                  <a:gd name="T4" fmla="*/ 2147359655 w 109"/>
                  <a:gd name="T5" fmla="*/ 2147359684 h 229"/>
                  <a:gd name="T6" fmla="*/ 2147359655 w 109"/>
                  <a:gd name="T7" fmla="*/ 2147359684 h 229"/>
                  <a:gd name="T8" fmla="*/ 2147359655 w 109"/>
                  <a:gd name="T9" fmla="*/ 2147359684 h 229"/>
                  <a:gd name="T10" fmla="*/ 2147359655 w 109"/>
                  <a:gd name="T11" fmla="*/ 2147359684 h 229"/>
                  <a:gd name="T12" fmla="*/ 2147359655 w 109"/>
                  <a:gd name="T13" fmla="*/ 2147359684 h 229"/>
                  <a:gd name="T14" fmla="*/ 2147359655 w 109"/>
                  <a:gd name="T15" fmla="*/ 2147359684 h 229"/>
                  <a:gd name="T16" fmla="*/ 2147359655 w 109"/>
                  <a:gd name="T17" fmla="*/ 2147359684 h 229"/>
                  <a:gd name="T18" fmla="*/ 2147359655 w 109"/>
                  <a:gd name="T19" fmla="*/ 2147359684 h 229"/>
                  <a:gd name="T20" fmla="*/ 2147359655 w 109"/>
                  <a:gd name="T21" fmla="*/ 2147359684 h 229"/>
                  <a:gd name="T22" fmla="*/ 2147359655 w 109"/>
                  <a:gd name="T23" fmla="*/ 2147359684 h 229"/>
                  <a:gd name="T24" fmla="*/ 2147359655 w 109"/>
                  <a:gd name="T25" fmla="*/ 2147359684 h 229"/>
                  <a:gd name="T26" fmla="*/ 2147359655 w 109"/>
                  <a:gd name="T27" fmla="*/ 2147359684 h 229"/>
                  <a:gd name="T28" fmla="*/ 2147359655 w 109"/>
                  <a:gd name="T29" fmla="*/ 2147359684 h 229"/>
                  <a:gd name="T30" fmla="*/ 2147359655 w 109"/>
                  <a:gd name="T31" fmla="*/ 2147359684 h 229"/>
                  <a:gd name="T32" fmla="*/ 2147359655 w 109"/>
                  <a:gd name="T33" fmla="*/ 2147359684 h 229"/>
                  <a:gd name="T34" fmla="*/ 2147359655 w 109"/>
                  <a:gd name="T35" fmla="*/ 2147359684 h 2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229"/>
                  <a:gd name="T56" fmla="*/ 109 w 109"/>
                  <a:gd name="T57" fmla="*/ 229 h 2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229">
                    <a:moveTo>
                      <a:pt x="97" y="0"/>
                    </a:moveTo>
                    <a:cubicBezTo>
                      <a:pt x="87" y="2"/>
                      <a:pt x="87" y="7"/>
                      <a:pt x="79" y="12"/>
                    </a:cubicBezTo>
                    <a:cubicBezTo>
                      <a:pt x="70" y="26"/>
                      <a:pt x="75" y="21"/>
                      <a:pt x="65" y="28"/>
                    </a:cubicBezTo>
                    <a:cubicBezTo>
                      <a:pt x="61" y="40"/>
                      <a:pt x="59" y="48"/>
                      <a:pt x="47" y="50"/>
                    </a:cubicBezTo>
                    <a:cubicBezTo>
                      <a:pt x="45" y="66"/>
                      <a:pt x="42" y="77"/>
                      <a:pt x="37" y="92"/>
                    </a:cubicBezTo>
                    <a:cubicBezTo>
                      <a:pt x="34" y="121"/>
                      <a:pt x="30" y="107"/>
                      <a:pt x="23" y="128"/>
                    </a:cubicBezTo>
                    <a:cubicBezTo>
                      <a:pt x="26" y="136"/>
                      <a:pt x="30" y="150"/>
                      <a:pt x="17" y="146"/>
                    </a:cubicBezTo>
                    <a:cubicBezTo>
                      <a:pt x="8" y="148"/>
                      <a:pt x="0" y="151"/>
                      <a:pt x="11" y="158"/>
                    </a:cubicBezTo>
                    <a:cubicBezTo>
                      <a:pt x="27" y="154"/>
                      <a:pt x="38" y="148"/>
                      <a:pt x="55" y="146"/>
                    </a:cubicBezTo>
                    <a:cubicBezTo>
                      <a:pt x="61" y="151"/>
                      <a:pt x="79" y="163"/>
                      <a:pt x="65" y="174"/>
                    </a:cubicBezTo>
                    <a:cubicBezTo>
                      <a:pt x="56" y="181"/>
                      <a:pt x="42" y="177"/>
                      <a:pt x="31" y="178"/>
                    </a:cubicBezTo>
                    <a:cubicBezTo>
                      <a:pt x="12" y="184"/>
                      <a:pt x="10" y="174"/>
                      <a:pt x="7" y="198"/>
                    </a:cubicBezTo>
                    <a:cubicBezTo>
                      <a:pt x="8" y="203"/>
                      <a:pt x="4" y="211"/>
                      <a:pt x="9" y="214"/>
                    </a:cubicBezTo>
                    <a:cubicBezTo>
                      <a:pt x="35" y="229"/>
                      <a:pt x="35" y="205"/>
                      <a:pt x="43" y="228"/>
                    </a:cubicBezTo>
                    <a:cubicBezTo>
                      <a:pt x="50" y="227"/>
                      <a:pt x="60" y="229"/>
                      <a:pt x="65" y="224"/>
                    </a:cubicBezTo>
                    <a:cubicBezTo>
                      <a:pt x="68" y="221"/>
                      <a:pt x="66" y="213"/>
                      <a:pt x="71" y="212"/>
                    </a:cubicBezTo>
                    <a:cubicBezTo>
                      <a:pt x="80" y="210"/>
                      <a:pt x="90" y="211"/>
                      <a:pt x="99" y="210"/>
                    </a:cubicBezTo>
                    <a:cubicBezTo>
                      <a:pt x="106" y="208"/>
                      <a:pt x="103" y="208"/>
                      <a:pt x="109" y="208"/>
                    </a:cubicBezTo>
                  </a:path>
                </a:pathLst>
              </a:custGeom>
              <a:noFill/>
              <a:ln w="28575">
                <a:solidFill>
                  <a:srgbClr val="FF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19" name="AutoShape 124"/>
              <p:cNvSpPr>
                <a:spLocks noChangeArrowheads="1"/>
              </p:cNvSpPr>
              <p:nvPr/>
            </p:nvSpPr>
            <p:spPr bwMode="auto">
              <a:xfrm>
                <a:off x="3160" y="1728"/>
                <a:ext cx="420" cy="204"/>
              </a:xfrm>
              <a:custGeom>
                <a:avLst/>
                <a:gdLst>
                  <a:gd name="T0" fmla="*/ 0 w 420"/>
                  <a:gd name="T1" fmla="*/ 0 h 204"/>
                  <a:gd name="T2" fmla="*/ 2147359632 w 420"/>
                  <a:gd name="T3" fmla="*/ 2147359614 h 204"/>
                  <a:gd name="T4" fmla="*/ 2147359632 w 420"/>
                  <a:gd name="T5" fmla="*/ 2147359614 h 204"/>
                  <a:gd name="T6" fmla="*/ 2147359632 w 420"/>
                  <a:gd name="T7" fmla="*/ 2147359614 h 204"/>
                  <a:gd name="T8" fmla="*/ 2147359632 w 420"/>
                  <a:gd name="T9" fmla="*/ 2147359614 h 204"/>
                  <a:gd name="T10" fmla="*/ 2147359632 w 420"/>
                  <a:gd name="T11" fmla="*/ 2147359614 h 204"/>
                  <a:gd name="T12" fmla="*/ 2147359632 w 420"/>
                  <a:gd name="T13" fmla="*/ 2147359614 h 204"/>
                  <a:gd name="T14" fmla="*/ 2147359632 w 420"/>
                  <a:gd name="T15" fmla="*/ 2147359614 h 204"/>
                  <a:gd name="T16" fmla="*/ 2147359632 w 420"/>
                  <a:gd name="T17" fmla="*/ 2147359614 h 204"/>
                  <a:gd name="T18" fmla="*/ 2147359632 w 420"/>
                  <a:gd name="T19" fmla="*/ 2147359614 h 204"/>
                  <a:gd name="T20" fmla="*/ 2147359632 w 420"/>
                  <a:gd name="T21" fmla="*/ 2147359614 h 204"/>
                  <a:gd name="T22" fmla="*/ 2147359632 w 420"/>
                  <a:gd name="T23" fmla="*/ 2147359614 h 204"/>
                  <a:gd name="T24" fmla="*/ 2147359632 w 420"/>
                  <a:gd name="T25" fmla="*/ 2147359614 h 204"/>
                  <a:gd name="T26" fmla="*/ 2147359632 w 420"/>
                  <a:gd name="T27" fmla="*/ 2147359614 h 204"/>
                  <a:gd name="T28" fmla="*/ 2147359632 w 420"/>
                  <a:gd name="T29" fmla="*/ 2147359614 h 204"/>
                  <a:gd name="T30" fmla="*/ 2147359632 w 420"/>
                  <a:gd name="T31" fmla="*/ 2147359614 h 204"/>
                  <a:gd name="T32" fmla="*/ 2147359632 w 420"/>
                  <a:gd name="T33" fmla="*/ 2147359614 h 204"/>
                  <a:gd name="T34" fmla="*/ 2147359632 w 420"/>
                  <a:gd name="T35" fmla="*/ 2147359614 h 204"/>
                  <a:gd name="T36" fmla="*/ 2147359632 w 420"/>
                  <a:gd name="T37" fmla="*/ 2147359614 h 204"/>
                  <a:gd name="T38" fmla="*/ 2147359632 w 420"/>
                  <a:gd name="T39" fmla="*/ 2147359614 h 204"/>
                  <a:gd name="T40" fmla="*/ 2147359632 w 420"/>
                  <a:gd name="T41" fmla="*/ 2147359614 h 2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0"/>
                  <a:gd name="T64" fmla="*/ 0 h 204"/>
                  <a:gd name="T65" fmla="*/ 420 w 420"/>
                  <a:gd name="T66" fmla="*/ 204 h 20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0" h="204">
                    <a:moveTo>
                      <a:pt x="0" y="0"/>
                    </a:moveTo>
                    <a:cubicBezTo>
                      <a:pt x="12" y="8"/>
                      <a:pt x="8" y="21"/>
                      <a:pt x="6" y="34"/>
                    </a:cubicBezTo>
                    <a:cubicBezTo>
                      <a:pt x="17" y="41"/>
                      <a:pt x="26" y="40"/>
                      <a:pt x="38" y="38"/>
                    </a:cubicBezTo>
                    <a:cubicBezTo>
                      <a:pt x="53" y="39"/>
                      <a:pt x="79" y="27"/>
                      <a:pt x="84" y="42"/>
                    </a:cubicBezTo>
                    <a:cubicBezTo>
                      <a:pt x="91" y="63"/>
                      <a:pt x="105" y="58"/>
                      <a:pt x="126" y="60"/>
                    </a:cubicBezTo>
                    <a:cubicBezTo>
                      <a:pt x="132" y="78"/>
                      <a:pt x="126" y="72"/>
                      <a:pt x="148" y="74"/>
                    </a:cubicBezTo>
                    <a:cubicBezTo>
                      <a:pt x="149" y="76"/>
                      <a:pt x="148" y="80"/>
                      <a:pt x="150" y="80"/>
                    </a:cubicBezTo>
                    <a:cubicBezTo>
                      <a:pt x="154" y="81"/>
                      <a:pt x="162" y="76"/>
                      <a:pt x="162" y="76"/>
                    </a:cubicBezTo>
                    <a:cubicBezTo>
                      <a:pt x="159" y="93"/>
                      <a:pt x="175" y="90"/>
                      <a:pt x="190" y="92"/>
                    </a:cubicBezTo>
                    <a:cubicBezTo>
                      <a:pt x="192" y="93"/>
                      <a:pt x="194" y="94"/>
                      <a:pt x="196" y="94"/>
                    </a:cubicBezTo>
                    <a:cubicBezTo>
                      <a:pt x="213" y="94"/>
                      <a:pt x="230" y="89"/>
                      <a:pt x="246" y="92"/>
                    </a:cubicBezTo>
                    <a:cubicBezTo>
                      <a:pt x="253" y="93"/>
                      <a:pt x="244" y="106"/>
                      <a:pt x="250" y="108"/>
                    </a:cubicBezTo>
                    <a:cubicBezTo>
                      <a:pt x="256" y="110"/>
                      <a:pt x="262" y="109"/>
                      <a:pt x="268" y="110"/>
                    </a:cubicBezTo>
                    <a:cubicBezTo>
                      <a:pt x="277" y="113"/>
                      <a:pt x="283" y="117"/>
                      <a:pt x="292" y="120"/>
                    </a:cubicBezTo>
                    <a:cubicBezTo>
                      <a:pt x="294" y="121"/>
                      <a:pt x="298" y="122"/>
                      <a:pt x="298" y="122"/>
                    </a:cubicBezTo>
                    <a:cubicBezTo>
                      <a:pt x="315" y="118"/>
                      <a:pt x="310" y="136"/>
                      <a:pt x="322" y="140"/>
                    </a:cubicBezTo>
                    <a:cubicBezTo>
                      <a:pt x="331" y="138"/>
                      <a:pt x="336" y="135"/>
                      <a:pt x="344" y="138"/>
                    </a:cubicBezTo>
                    <a:cubicBezTo>
                      <a:pt x="347" y="148"/>
                      <a:pt x="345" y="160"/>
                      <a:pt x="350" y="170"/>
                    </a:cubicBezTo>
                    <a:cubicBezTo>
                      <a:pt x="352" y="174"/>
                      <a:pt x="362" y="178"/>
                      <a:pt x="362" y="178"/>
                    </a:cubicBezTo>
                    <a:cubicBezTo>
                      <a:pt x="369" y="188"/>
                      <a:pt x="370" y="200"/>
                      <a:pt x="382" y="204"/>
                    </a:cubicBezTo>
                    <a:cubicBezTo>
                      <a:pt x="398" y="199"/>
                      <a:pt x="386" y="202"/>
                      <a:pt x="420" y="202"/>
                    </a:cubicBezTo>
                  </a:path>
                </a:pathLst>
              </a:custGeom>
              <a:noFill/>
              <a:ln w="28575">
                <a:solidFill>
                  <a:srgbClr val="FF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20" name="AutoShape 125"/>
              <p:cNvSpPr>
                <a:spLocks noChangeArrowheads="1"/>
              </p:cNvSpPr>
              <p:nvPr/>
            </p:nvSpPr>
            <p:spPr bwMode="auto">
              <a:xfrm>
                <a:off x="3586" y="1930"/>
                <a:ext cx="148" cy="24"/>
              </a:xfrm>
              <a:custGeom>
                <a:avLst/>
                <a:gdLst>
                  <a:gd name="T0" fmla="*/ 0 w 148"/>
                  <a:gd name="T1" fmla="*/ 2147359573 h 24"/>
                  <a:gd name="T2" fmla="*/ 2147359370 w 148"/>
                  <a:gd name="T3" fmla="*/ 2147359573 h 24"/>
                  <a:gd name="T4" fmla="*/ 2147359370 w 148"/>
                  <a:gd name="T5" fmla="*/ 2147359573 h 24"/>
                  <a:gd name="T6" fmla="*/ 2147359370 w 148"/>
                  <a:gd name="T7" fmla="*/ 2147359573 h 24"/>
                  <a:gd name="T8" fmla="*/ 2147359370 w 148"/>
                  <a:gd name="T9" fmla="*/ 2147359573 h 24"/>
                  <a:gd name="T10" fmla="*/ 2147359370 w 148"/>
                  <a:gd name="T11" fmla="*/ 2147359573 h 24"/>
                  <a:gd name="T12" fmla="*/ 2147359370 w 148"/>
                  <a:gd name="T13" fmla="*/ 2147359573 h 24"/>
                  <a:gd name="T14" fmla="*/ 0 60000 65536"/>
                  <a:gd name="T15" fmla="*/ 0 60000 65536"/>
                  <a:gd name="T16" fmla="*/ 0 60000 65536"/>
                  <a:gd name="T17" fmla="*/ 0 60000 65536"/>
                  <a:gd name="T18" fmla="*/ 0 60000 65536"/>
                  <a:gd name="T19" fmla="*/ 0 60000 65536"/>
                  <a:gd name="T20" fmla="*/ 0 60000 65536"/>
                  <a:gd name="T21" fmla="*/ 0 w 148"/>
                  <a:gd name="T22" fmla="*/ 0 h 24"/>
                  <a:gd name="T23" fmla="*/ 148 w 14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 h="24">
                    <a:moveTo>
                      <a:pt x="0" y="2"/>
                    </a:moveTo>
                    <a:cubicBezTo>
                      <a:pt x="18" y="0"/>
                      <a:pt x="34" y="2"/>
                      <a:pt x="52" y="4"/>
                    </a:cubicBezTo>
                    <a:cubicBezTo>
                      <a:pt x="59" y="9"/>
                      <a:pt x="67" y="9"/>
                      <a:pt x="74" y="14"/>
                    </a:cubicBezTo>
                    <a:cubicBezTo>
                      <a:pt x="81" y="24"/>
                      <a:pt x="86" y="22"/>
                      <a:pt x="98" y="20"/>
                    </a:cubicBezTo>
                    <a:cubicBezTo>
                      <a:pt x="114" y="9"/>
                      <a:pt x="105" y="11"/>
                      <a:pt x="126" y="14"/>
                    </a:cubicBezTo>
                    <a:cubicBezTo>
                      <a:pt x="128" y="15"/>
                      <a:pt x="130" y="15"/>
                      <a:pt x="132" y="16"/>
                    </a:cubicBezTo>
                    <a:cubicBezTo>
                      <a:pt x="147" y="24"/>
                      <a:pt x="148" y="24"/>
                      <a:pt x="142" y="24"/>
                    </a:cubicBezTo>
                  </a:path>
                </a:pathLst>
              </a:custGeom>
              <a:noFill/>
              <a:ln w="28575">
                <a:solidFill>
                  <a:srgbClr val="FF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21" name="Line 127"/>
              <p:cNvSpPr>
                <a:spLocks noChangeShapeType="1"/>
              </p:cNvSpPr>
              <p:nvPr/>
            </p:nvSpPr>
            <p:spPr bwMode="auto">
              <a:xfrm flipH="1" flipV="1">
                <a:off x="1487" y="1830"/>
                <a:ext cx="194" cy="194"/>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22" name="Rectangle 128"/>
              <p:cNvSpPr>
                <a:spLocks noChangeArrowheads="1"/>
              </p:cNvSpPr>
              <p:nvPr/>
            </p:nvSpPr>
            <p:spPr bwMode="auto">
              <a:xfrm>
                <a:off x="3840" y="2736"/>
                <a:ext cx="752" cy="107"/>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600" b="1" i="0" u="none" strike="noStrike" kern="0" cap="none" spc="0" normalizeH="0" baseline="0" noProof="0">
                    <a:ln>
                      <a:noFill/>
                    </a:ln>
                    <a:solidFill>
                      <a:srgbClr val="000000"/>
                    </a:solidFill>
                    <a:effectLst/>
                    <a:uLnTx/>
                    <a:uFillTx/>
                    <a:latin typeface="Times New Roman" pitchFamily="18" charset="0"/>
                  </a:rPr>
                  <a:t>DON MATÍAS</a:t>
                </a:r>
              </a:p>
            </p:txBody>
          </p:sp>
          <p:grpSp>
            <p:nvGrpSpPr>
              <p:cNvPr id="523" name="Group 129"/>
              <p:cNvGrpSpPr>
                <a:grpSpLocks/>
              </p:cNvGrpSpPr>
              <p:nvPr/>
            </p:nvGrpSpPr>
            <p:grpSpPr bwMode="auto">
              <a:xfrm>
                <a:off x="3897" y="265"/>
                <a:ext cx="665" cy="280"/>
                <a:chOff x="3900" y="337"/>
                <a:chExt cx="659" cy="155"/>
              </a:xfrm>
            </p:grpSpPr>
            <p:sp>
              <p:nvSpPr>
                <p:cNvPr id="531" name="Rectangle 130"/>
                <p:cNvSpPr>
                  <a:spLocks noChangeArrowheads="1"/>
                </p:cNvSpPr>
                <p:nvPr/>
              </p:nvSpPr>
              <p:spPr bwMode="auto">
                <a:xfrm rot="19323916">
                  <a:off x="3900" y="357"/>
                  <a:ext cx="659" cy="135"/>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800" b="1" i="0" u="none" strike="noStrike" kern="0" cap="none" spc="0" normalizeH="0" baseline="0" noProof="0" dirty="0">
                      <a:ln>
                        <a:noFill/>
                      </a:ln>
                      <a:solidFill>
                        <a:srgbClr val="000000"/>
                      </a:solidFill>
                      <a:effectLst/>
                      <a:uLnTx/>
                      <a:uFillTx/>
                      <a:latin typeface="Times New Roman" pitchFamily="18" charset="0"/>
                    </a:rPr>
                    <a:t>CARTAGENA</a:t>
                  </a:r>
                </a:p>
              </p:txBody>
            </p:sp>
            <p:sp>
              <p:nvSpPr>
                <p:cNvPr id="532" name="Line 131"/>
                <p:cNvSpPr>
                  <a:spLocks noChangeShapeType="1"/>
                </p:cNvSpPr>
                <p:nvPr/>
              </p:nvSpPr>
              <p:spPr bwMode="auto">
                <a:xfrm flipV="1">
                  <a:off x="4091" y="337"/>
                  <a:ext cx="384" cy="146"/>
                </a:xfrm>
                <a:prstGeom prst="line">
                  <a:avLst/>
                </a:prstGeom>
                <a:noFill/>
                <a:ln w="28575">
                  <a:solidFill>
                    <a:srgbClr val="000000"/>
                  </a:solidFill>
                  <a:miter lim="800000"/>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grpSp>
          <p:sp>
            <p:nvSpPr>
              <p:cNvPr id="524" name="Rectangle 132"/>
              <p:cNvSpPr>
                <a:spLocks noChangeArrowheads="1"/>
              </p:cNvSpPr>
              <p:nvPr/>
            </p:nvSpPr>
            <p:spPr bwMode="auto">
              <a:xfrm>
                <a:off x="1656" y="563"/>
                <a:ext cx="1074" cy="160"/>
              </a:xfrm>
              <a:prstGeom prst="rect">
                <a:avLst/>
              </a:prstGeom>
              <a:noFill/>
              <a:ln w="9525">
                <a:noFill/>
                <a:miter lim="800000"/>
                <a:headEnd/>
                <a:tailEnd/>
              </a:ln>
            </p:spPr>
            <p:txBody>
              <a:bodyPr lIns="92160" tIns="46080" rIns="92160" bIns="46080">
                <a:spAutoFit/>
              </a:bodyPr>
              <a:lstStyle/>
              <a:p>
                <a:pPr marL="0" marR="0" lvl="0" indent="0" algn="ctr" defTabSz="914400" eaLnBrk="0" fontAlgn="auto" latinLnBrk="0" hangingPunct="0">
                  <a:lnSpc>
                    <a:spcPct val="100000"/>
                  </a:lnSpc>
                  <a:spcBef>
                    <a:spcPts val="563"/>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1200" b="1" i="0" u="none" strike="noStrike" kern="0" cap="none" spc="0" normalizeH="0" baseline="0" noProof="0" dirty="0">
                    <a:ln>
                      <a:noFill/>
                    </a:ln>
                    <a:solidFill>
                      <a:srgbClr val="000000"/>
                    </a:solidFill>
                    <a:effectLst/>
                    <a:uLnTx/>
                    <a:uFillTx/>
                    <a:latin typeface="Trebuchet MS" panose="020B0603020202020204" pitchFamily="34" charset="0"/>
                  </a:rPr>
                  <a:t>ZONA DE OBRAS</a:t>
                </a:r>
              </a:p>
            </p:txBody>
          </p:sp>
          <p:sp>
            <p:nvSpPr>
              <p:cNvPr id="525" name="Rectangle 133"/>
              <p:cNvSpPr>
                <a:spLocks noChangeArrowheads="1"/>
              </p:cNvSpPr>
              <p:nvPr/>
            </p:nvSpPr>
            <p:spPr bwMode="auto">
              <a:xfrm>
                <a:off x="3283" y="1089"/>
                <a:ext cx="469" cy="124"/>
              </a:xfrm>
              <a:prstGeom prst="rect">
                <a:avLst/>
              </a:prstGeom>
              <a:solidFill>
                <a:srgbClr val="33CC33">
                  <a:alpha val="50196"/>
                </a:srgbClr>
              </a:solidFill>
              <a:ln>
                <a:noFill/>
              </a:ln>
              <a:extLst/>
            </p:spPr>
            <p:style>
              <a:lnRef idx="0">
                <a:scrgbClr r="0" g="0" b="0"/>
              </a:lnRef>
              <a:fillRef idx="1002">
                <a:schemeClr val="lt1"/>
              </a:fillRef>
              <a:effectRef idx="0">
                <a:scrgbClr r="0" g="0" b="0"/>
              </a:effectRef>
              <a:fontRef idx="major"/>
            </p:style>
            <p:txBody>
              <a:bodyPr lIns="92160" tIns="46080" rIns="92160" bIns="46080">
                <a:spAutoFit/>
              </a:bodyPr>
              <a:lstStyle/>
              <a:p>
                <a:pPr marL="0" marR="0" lvl="0" indent="0" algn="ctr" defTabSz="914400" eaLnBrk="0" fontAlgn="auto" latinLnBrk="0" hangingPunct="0">
                  <a:lnSpc>
                    <a:spcPct val="100000"/>
                  </a:lnSpc>
                  <a:spcBef>
                    <a:spcPts val="5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800" b="1" i="0" u="none" strike="noStrike" kern="0" cap="none" spc="0" normalizeH="0" baseline="0" noProof="0" dirty="0">
                    <a:ln>
                      <a:noFill/>
                    </a:ln>
                    <a:solidFill>
                      <a:srgbClr val="000000"/>
                    </a:solidFill>
                    <a:effectLst/>
                    <a:uLnTx/>
                    <a:uFillTx/>
                    <a:latin typeface="Trebuchet MS" panose="020B0603020202020204" pitchFamily="34" charset="0"/>
                  </a:rPr>
                  <a:t>BRICEÑO</a:t>
                </a:r>
              </a:p>
            </p:txBody>
          </p:sp>
          <p:sp>
            <p:nvSpPr>
              <p:cNvPr id="526" name="Line 134"/>
              <p:cNvSpPr>
                <a:spLocks noChangeShapeType="1"/>
              </p:cNvSpPr>
              <p:nvPr/>
            </p:nvSpPr>
            <p:spPr bwMode="auto">
              <a:xfrm>
                <a:off x="2971" y="1117"/>
                <a:ext cx="45" cy="90"/>
              </a:xfrm>
              <a:prstGeom prst="line">
                <a:avLst/>
              </a:prstGeom>
              <a:noFill/>
              <a:ln w="28575">
                <a:solidFill>
                  <a:schemeClr val="tx1"/>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29" name="Line 137"/>
              <p:cNvSpPr>
                <a:spLocks noChangeShapeType="1"/>
              </p:cNvSpPr>
              <p:nvPr/>
            </p:nvSpPr>
            <p:spPr bwMode="auto">
              <a:xfrm>
                <a:off x="2517" y="2750"/>
                <a:ext cx="26" cy="45"/>
              </a:xfrm>
              <a:prstGeom prst="line">
                <a:avLst/>
              </a:prstGeom>
              <a:noFill/>
              <a:ln w="28575">
                <a:solidFill>
                  <a:schemeClr val="tx1"/>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sp>
            <p:nvSpPr>
              <p:cNvPr id="530" name="Rectangle 126"/>
              <p:cNvSpPr>
                <a:spLocks noChangeArrowheads="1"/>
              </p:cNvSpPr>
              <p:nvPr/>
            </p:nvSpPr>
            <p:spPr bwMode="auto">
              <a:xfrm rot="16200000">
                <a:off x="2050" y="3446"/>
                <a:ext cx="415" cy="135"/>
              </a:xfrm>
              <a:prstGeom prst="rect">
                <a:avLst/>
              </a:prstGeom>
              <a:noFill/>
              <a:ln w="9525">
                <a:noFill/>
                <a:miter lim="800000"/>
                <a:headEnd/>
                <a:tailEnd/>
              </a:ln>
            </p:spPr>
            <p:txBody>
              <a:bodyPr lIns="92075" tIns="46038" rIns="92075" bIns="46038">
                <a:spAutoFit/>
              </a:bodyPr>
              <a:lstStyle/>
              <a:p>
                <a:pPr marL="0" marR="0" lvl="0" indent="0" algn="ctr" defTabSz="762000" eaLnBrk="0" fontAlgn="auto" latinLnBrk="0" hangingPunct="0">
                  <a:lnSpc>
                    <a:spcPct val="100000"/>
                  </a:lnSpc>
                  <a:spcBef>
                    <a:spcPct val="50000"/>
                  </a:spcBef>
                  <a:spcAft>
                    <a:spcPts val="0"/>
                  </a:spcAft>
                  <a:buClrTx/>
                  <a:buSzTx/>
                  <a:buFontTx/>
                  <a:buNone/>
                  <a:tabLst/>
                  <a:defRPr/>
                </a:pPr>
                <a:r>
                  <a:rPr kumimoji="0" lang="es-ES" altLang="es-CO" sz="800" b="1" i="0" u="none" strike="noStrike" kern="0" cap="none" spc="0" normalizeH="0" baseline="0" noProof="0" dirty="0">
                    <a:ln>
                      <a:noFill/>
                    </a:ln>
                    <a:solidFill>
                      <a:srgbClr val="000000"/>
                    </a:solidFill>
                    <a:effectLst/>
                    <a:uLnTx/>
                    <a:uFillTx/>
                    <a:latin typeface="Times New Roman" pitchFamily="18" charset="0"/>
                  </a:rPr>
                  <a:t>CALI</a:t>
                </a:r>
              </a:p>
            </p:txBody>
          </p:sp>
          <p:sp>
            <p:nvSpPr>
              <p:cNvPr id="527" name="Line 135"/>
              <p:cNvSpPr>
                <a:spLocks noChangeShapeType="1"/>
              </p:cNvSpPr>
              <p:nvPr/>
            </p:nvSpPr>
            <p:spPr bwMode="auto">
              <a:xfrm>
                <a:off x="2607" y="1056"/>
                <a:ext cx="332" cy="110"/>
              </a:xfrm>
              <a:prstGeom prst="line">
                <a:avLst/>
              </a:prstGeom>
              <a:noFill/>
              <a:ln w="28575">
                <a:solidFill>
                  <a:schemeClr val="tx1"/>
                </a:solidFill>
                <a:round/>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endParaRPr>
              </a:p>
            </p:txBody>
          </p:sp>
        </p:grpSp>
        <p:grpSp>
          <p:nvGrpSpPr>
            <p:cNvPr id="535" name="Grupo 534"/>
            <p:cNvGrpSpPr/>
            <p:nvPr/>
          </p:nvGrpSpPr>
          <p:grpSpPr>
            <a:xfrm>
              <a:off x="4355047" y="763639"/>
              <a:ext cx="3913187" cy="1965559"/>
              <a:chOff x="4564063" y="764188"/>
              <a:chExt cx="3913187" cy="1939473"/>
            </a:xfrm>
          </p:grpSpPr>
          <p:sp>
            <p:nvSpPr>
              <p:cNvPr id="537" name="143 Forma libre"/>
              <p:cNvSpPr>
                <a:spLocks noChangeArrowheads="1"/>
              </p:cNvSpPr>
              <p:nvPr/>
            </p:nvSpPr>
            <p:spPr bwMode="auto">
              <a:xfrm>
                <a:off x="6892925" y="1998811"/>
                <a:ext cx="252413" cy="307975"/>
              </a:xfrm>
              <a:custGeom>
                <a:avLst/>
                <a:gdLst>
                  <a:gd name="T0" fmla="*/ 90383 w 252415"/>
                  <a:gd name="T1" fmla="*/ 329067 h 307777"/>
                  <a:gd name="T2" fmla="*/ 95146 w 252415"/>
                  <a:gd name="T3" fmla="*/ 303607 h 307777"/>
                  <a:gd name="T4" fmla="*/ 97527 w 252415"/>
                  <a:gd name="T5" fmla="*/ 285786 h 307777"/>
                  <a:gd name="T6" fmla="*/ 102290 w 252415"/>
                  <a:gd name="T7" fmla="*/ 267964 h 307777"/>
                  <a:gd name="T8" fmla="*/ 116577 w 252415"/>
                  <a:gd name="T9" fmla="*/ 260324 h 307777"/>
                  <a:gd name="T10" fmla="*/ 126102 w 252415"/>
                  <a:gd name="T11" fmla="*/ 247595 h 307777"/>
                  <a:gd name="T12" fmla="*/ 130826 w 252415"/>
                  <a:gd name="T13" fmla="*/ 239955 h 307777"/>
                  <a:gd name="T14" fmla="*/ 142732 w 252415"/>
                  <a:gd name="T15" fmla="*/ 224678 h 307777"/>
                  <a:gd name="T16" fmla="*/ 145113 w 252415"/>
                  <a:gd name="T17" fmla="*/ 217043 h 307777"/>
                  <a:gd name="T18" fmla="*/ 147494 w 252415"/>
                  <a:gd name="T19" fmla="*/ 206861 h 307777"/>
                  <a:gd name="T20" fmla="*/ 161782 w 252415"/>
                  <a:gd name="T21" fmla="*/ 196674 h 307777"/>
                  <a:gd name="T22" fmla="*/ 168926 w 252415"/>
                  <a:gd name="T23" fmla="*/ 191583 h 307777"/>
                  <a:gd name="T24" fmla="*/ 173688 w 252415"/>
                  <a:gd name="T25" fmla="*/ 183945 h 307777"/>
                  <a:gd name="T26" fmla="*/ 180832 w 252415"/>
                  <a:gd name="T27" fmla="*/ 178855 h 307777"/>
                  <a:gd name="T28" fmla="*/ 185594 w 252415"/>
                  <a:gd name="T29" fmla="*/ 163578 h 307777"/>
                  <a:gd name="T30" fmla="*/ 190330 w 252415"/>
                  <a:gd name="T31" fmla="*/ 145758 h 307777"/>
                  <a:gd name="T32" fmla="*/ 192673 w 252415"/>
                  <a:gd name="T33" fmla="*/ 110113 h 307777"/>
                  <a:gd name="T34" fmla="*/ 197436 w 252415"/>
                  <a:gd name="T35" fmla="*/ 94837 h 307777"/>
                  <a:gd name="T36" fmla="*/ 211684 w 252415"/>
                  <a:gd name="T37" fmla="*/ 84650 h 307777"/>
                  <a:gd name="T38" fmla="*/ 228353 w 252415"/>
                  <a:gd name="T39" fmla="*/ 61738 h 307777"/>
                  <a:gd name="T40" fmla="*/ 242640 w 252415"/>
                  <a:gd name="T41" fmla="*/ 49010 h 307777"/>
                  <a:gd name="T42" fmla="*/ 249784 w 252415"/>
                  <a:gd name="T43" fmla="*/ 20997 h 307777"/>
                  <a:gd name="T44" fmla="*/ 247403 w 252415"/>
                  <a:gd name="T45" fmla="*/ 5746 h 307777"/>
                  <a:gd name="T46" fmla="*/ 147494 w 252415"/>
                  <a:gd name="T47" fmla="*/ 3185 h 307777"/>
                  <a:gd name="T48" fmla="*/ 137969 w 252415"/>
                  <a:gd name="T49" fmla="*/ 595 h 307777"/>
                  <a:gd name="T50" fmla="*/ 130826 w 252415"/>
                  <a:gd name="T51" fmla="*/ 3185 h 307777"/>
                  <a:gd name="T52" fmla="*/ 126102 w 252415"/>
                  <a:gd name="T53" fmla="*/ 10848 h 307777"/>
                  <a:gd name="T54" fmla="*/ 123721 w 252415"/>
                  <a:gd name="T55" fmla="*/ 61738 h 307777"/>
                  <a:gd name="T56" fmla="*/ 118958 w 252415"/>
                  <a:gd name="T57" fmla="*/ 69376 h 307777"/>
                  <a:gd name="T58" fmla="*/ 116577 w 252415"/>
                  <a:gd name="T59" fmla="*/ 79560 h 307777"/>
                  <a:gd name="T60" fmla="*/ 104671 w 252415"/>
                  <a:gd name="T61" fmla="*/ 122841 h 307777"/>
                  <a:gd name="T62" fmla="*/ 97527 w 252415"/>
                  <a:gd name="T63" fmla="*/ 125388 h 307777"/>
                  <a:gd name="T64" fmla="*/ 54730 w 252415"/>
                  <a:gd name="T65" fmla="*/ 127933 h 307777"/>
                  <a:gd name="T66" fmla="*/ 38100 w 252415"/>
                  <a:gd name="T67" fmla="*/ 135575 h 307777"/>
                  <a:gd name="T68" fmla="*/ 30956 w 252415"/>
                  <a:gd name="T69" fmla="*/ 140665 h 307777"/>
                  <a:gd name="T70" fmla="*/ 23812 w 252415"/>
                  <a:gd name="T71" fmla="*/ 143211 h 307777"/>
                  <a:gd name="T72" fmla="*/ 0 w 252415"/>
                  <a:gd name="T73" fmla="*/ 145758 h 3077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52415"/>
                  <a:gd name="T112" fmla="*/ 0 h 307777"/>
                  <a:gd name="T113" fmla="*/ 252415 w 252415"/>
                  <a:gd name="T114" fmla="*/ 307777 h 3077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52415" h="307777">
                    <a:moveTo>
                      <a:pt x="90487" y="307777"/>
                    </a:moveTo>
                    <a:cubicBezTo>
                      <a:pt x="92075" y="299839"/>
                      <a:pt x="94105" y="291978"/>
                      <a:pt x="95250" y="283964"/>
                    </a:cubicBezTo>
                    <a:cubicBezTo>
                      <a:pt x="96044" y="278408"/>
                      <a:pt x="96627" y="272817"/>
                      <a:pt x="97631" y="267295"/>
                    </a:cubicBezTo>
                    <a:cubicBezTo>
                      <a:pt x="97732" y="266738"/>
                      <a:pt x="101192" y="252130"/>
                      <a:pt x="102394" y="250627"/>
                    </a:cubicBezTo>
                    <a:cubicBezTo>
                      <a:pt x="105753" y="246429"/>
                      <a:pt x="111973" y="245052"/>
                      <a:pt x="116681" y="243483"/>
                    </a:cubicBezTo>
                    <a:cubicBezTo>
                      <a:pt x="121316" y="229575"/>
                      <a:pt x="115435" y="242347"/>
                      <a:pt x="126206" y="231577"/>
                    </a:cubicBezTo>
                    <a:cubicBezTo>
                      <a:pt x="128230" y="229553"/>
                      <a:pt x="129137" y="226632"/>
                      <a:pt x="130969" y="224433"/>
                    </a:cubicBezTo>
                    <a:cubicBezTo>
                      <a:pt x="146248" y="206097"/>
                      <a:pt x="131049" y="227883"/>
                      <a:pt x="142875" y="210145"/>
                    </a:cubicBezTo>
                    <a:cubicBezTo>
                      <a:pt x="143669" y="207764"/>
                      <a:pt x="144567" y="205415"/>
                      <a:pt x="145256" y="203002"/>
                    </a:cubicBezTo>
                    <a:cubicBezTo>
                      <a:pt x="146155" y="199855"/>
                      <a:pt x="145482" y="195940"/>
                      <a:pt x="147637" y="193477"/>
                    </a:cubicBezTo>
                    <a:cubicBezTo>
                      <a:pt x="151406" y="189169"/>
                      <a:pt x="157162" y="187127"/>
                      <a:pt x="161925" y="183952"/>
                    </a:cubicBezTo>
                    <a:lnTo>
                      <a:pt x="169069" y="179189"/>
                    </a:lnTo>
                    <a:cubicBezTo>
                      <a:pt x="170656" y="176808"/>
                      <a:pt x="171807" y="174069"/>
                      <a:pt x="173831" y="172045"/>
                    </a:cubicBezTo>
                    <a:cubicBezTo>
                      <a:pt x="175855" y="170021"/>
                      <a:pt x="179458" y="169710"/>
                      <a:pt x="180975" y="167283"/>
                    </a:cubicBezTo>
                    <a:cubicBezTo>
                      <a:pt x="183636" y="163026"/>
                      <a:pt x="184149" y="157758"/>
                      <a:pt x="185737" y="152995"/>
                    </a:cubicBezTo>
                    <a:cubicBezTo>
                      <a:pt x="189158" y="142732"/>
                      <a:pt x="187505" y="148307"/>
                      <a:pt x="190500" y="136327"/>
                    </a:cubicBezTo>
                    <a:cubicBezTo>
                      <a:pt x="191294" y="125214"/>
                      <a:pt x="191228" y="114007"/>
                      <a:pt x="192881" y="102989"/>
                    </a:cubicBezTo>
                    <a:cubicBezTo>
                      <a:pt x="193626" y="98025"/>
                      <a:pt x="193467" y="91487"/>
                      <a:pt x="197644" y="88702"/>
                    </a:cubicBezTo>
                    <a:lnTo>
                      <a:pt x="211931" y="79177"/>
                    </a:lnTo>
                    <a:cubicBezTo>
                      <a:pt x="216442" y="65644"/>
                      <a:pt x="212537" y="73807"/>
                      <a:pt x="228600" y="57745"/>
                    </a:cubicBezTo>
                    <a:cubicBezTo>
                      <a:pt x="237765" y="48580"/>
                      <a:pt x="232944" y="52469"/>
                      <a:pt x="242887" y="45839"/>
                    </a:cubicBezTo>
                    <a:cubicBezTo>
                      <a:pt x="248259" y="24354"/>
                      <a:pt x="245580" y="32999"/>
                      <a:pt x="250031" y="19645"/>
                    </a:cubicBezTo>
                    <a:cubicBezTo>
                      <a:pt x="249237" y="14883"/>
                      <a:pt x="252415" y="6134"/>
                      <a:pt x="247650" y="5358"/>
                    </a:cubicBezTo>
                    <a:cubicBezTo>
                      <a:pt x="214736" y="0"/>
                      <a:pt x="180953" y="4426"/>
                      <a:pt x="147637" y="2977"/>
                    </a:cubicBezTo>
                    <a:cubicBezTo>
                      <a:pt x="144367" y="2835"/>
                      <a:pt x="141287" y="1389"/>
                      <a:pt x="138112" y="595"/>
                    </a:cubicBezTo>
                    <a:cubicBezTo>
                      <a:pt x="135731" y="1389"/>
                      <a:pt x="132929" y="1409"/>
                      <a:pt x="130969" y="2977"/>
                    </a:cubicBezTo>
                    <a:cubicBezTo>
                      <a:pt x="128734" y="4765"/>
                      <a:pt x="126576" y="7282"/>
                      <a:pt x="126206" y="10120"/>
                    </a:cubicBezTo>
                    <a:cubicBezTo>
                      <a:pt x="124150" y="25881"/>
                      <a:pt x="125881" y="41984"/>
                      <a:pt x="123825" y="57745"/>
                    </a:cubicBezTo>
                    <a:cubicBezTo>
                      <a:pt x="123455" y="60583"/>
                      <a:pt x="120650" y="62508"/>
                      <a:pt x="119062" y="64889"/>
                    </a:cubicBezTo>
                    <a:cubicBezTo>
                      <a:pt x="118268" y="68064"/>
                      <a:pt x="117219" y="71186"/>
                      <a:pt x="116681" y="74414"/>
                    </a:cubicBezTo>
                    <a:cubicBezTo>
                      <a:pt x="113601" y="92894"/>
                      <a:pt x="119210" y="105272"/>
                      <a:pt x="104775" y="114895"/>
                    </a:cubicBezTo>
                    <a:cubicBezTo>
                      <a:pt x="102686" y="116287"/>
                      <a:pt x="100130" y="117039"/>
                      <a:pt x="97631" y="117277"/>
                    </a:cubicBezTo>
                    <a:cubicBezTo>
                      <a:pt x="83386" y="118634"/>
                      <a:pt x="69056" y="118864"/>
                      <a:pt x="54769" y="119658"/>
                    </a:cubicBezTo>
                    <a:cubicBezTo>
                      <a:pt x="46752" y="122330"/>
                      <a:pt x="46343" y="122092"/>
                      <a:pt x="38100" y="126802"/>
                    </a:cubicBezTo>
                    <a:cubicBezTo>
                      <a:pt x="35615" y="128222"/>
                      <a:pt x="33516" y="130284"/>
                      <a:pt x="30956" y="131564"/>
                    </a:cubicBezTo>
                    <a:cubicBezTo>
                      <a:pt x="28711" y="132686"/>
                      <a:pt x="26282" y="133496"/>
                      <a:pt x="23812" y="133945"/>
                    </a:cubicBezTo>
                    <a:cubicBezTo>
                      <a:pt x="9629" y="136524"/>
                      <a:pt x="16693" y="174440"/>
                      <a:pt x="0" y="136327"/>
                    </a:cubicBezTo>
                  </a:path>
                </a:pathLst>
              </a:custGeom>
              <a:noFill/>
              <a:ln w="25400" algn="ctr">
                <a:solidFill>
                  <a:srgbClr val="FF0000"/>
                </a:solidFill>
                <a:prstDash val="sysDot"/>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latin typeface="Trebuchet MS" panose="020B0603020202020204" pitchFamily="34" charset="0"/>
                </a:endParaRPr>
              </a:p>
            </p:txBody>
          </p:sp>
          <p:sp>
            <p:nvSpPr>
              <p:cNvPr id="538" name="147 Forma libre"/>
              <p:cNvSpPr>
                <a:spLocks noChangeArrowheads="1"/>
              </p:cNvSpPr>
              <p:nvPr/>
            </p:nvSpPr>
            <p:spPr bwMode="auto">
              <a:xfrm>
                <a:off x="7104063" y="1155849"/>
                <a:ext cx="1373187" cy="842962"/>
              </a:xfrm>
              <a:custGeom>
                <a:avLst/>
                <a:gdLst>
                  <a:gd name="T0" fmla="*/ 21782 w 1372451"/>
                  <a:gd name="T1" fmla="*/ 736842 h 843643"/>
                  <a:gd name="T2" fmla="*/ 36162 w 1372451"/>
                  <a:gd name="T3" fmla="*/ 746862 h 843643"/>
                  <a:gd name="T4" fmla="*/ 76406 w 1372451"/>
                  <a:gd name="T5" fmla="*/ 739350 h 843643"/>
                  <a:gd name="T6" fmla="*/ 87905 w 1372451"/>
                  <a:gd name="T7" fmla="*/ 704260 h 843643"/>
                  <a:gd name="T8" fmla="*/ 96525 w 1372451"/>
                  <a:gd name="T9" fmla="*/ 674183 h 843643"/>
                  <a:gd name="T10" fmla="*/ 110895 w 1372451"/>
                  <a:gd name="T11" fmla="*/ 651629 h 843643"/>
                  <a:gd name="T12" fmla="*/ 139643 w 1372451"/>
                  <a:gd name="T13" fmla="*/ 624060 h 843643"/>
                  <a:gd name="T14" fmla="*/ 156890 w 1372451"/>
                  <a:gd name="T15" fmla="*/ 601502 h 843643"/>
                  <a:gd name="T16" fmla="*/ 182757 w 1372451"/>
                  <a:gd name="T17" fmla="*/ 576440 h 843643"/>
                  <a:gd name="T18" fmla="*/ 214375 w 1372451"/>
                  <a:gd name="T19" fmla="*/ 553885 h 843643"/>
                  <a:gd name="T20" fmla="*/ 228745 w 1372451"/>
                  <a:gd name="T21" fmla="*/ 531330 h 843643"/>
                  <a:gd name="T22" fmla="*/ 251743 w 1372451"/>
                  <a:gd name="T23" fmla="*/ 511281 h 843643"/>
                  <a:gd name="T24" fmla="*/ 277613 w 1372451"/>
                  <a:gd name="T25" fmla="*/ 473677 h 843643"/>
                  <a:gd name="T26" fmla="*/ 289111 w 1372451"/>
                  <a:gd name="T27" fmla="*/ 461150 h 843643"/>
                  <a:gd name="T28" fmla="*/ 306357 w 1372451"/>
                  <a:gd name="T29" fmla="*/ 453632 h 843643"/>
                  <a:gd name="T30" fmla="*/ 349474 w 1372451"/>
                  <a:gd name="T31" fmla="*/ 443605 h 843643"/>
                  <a:gd name="T32" fmla="*/ 392587 w 1372451"/>
                  <a:gd name="T33" fmla="*/ 431074 h 843643"/>
                  <a:gd name="T34" fmla="*/ 424206 w 1372451"/>
                  <a:gd name="T35" fmla="*/ 423558 h 843643"/>
                  <a:gd name="T36" fmla="*/ 458698 w 1372451"/>
                  <a:gd name="T37" fmla="*/ 408519 h 843643"/>
                  <a:gd name="T38" fmla="*/ 473068 w 1372451"/>
                  <a:gd name="T39" fmla="*/ 395988 h 843643"/>
                  <a:gd name="T40" fmla="*/ 496063 w 1372451"/>
                  <a:gd name="T41" fmla="*/ 378446 h 843643"/>
                  <a:gd name="T42" fmla="*/ 513312 w 1372451"/>
                  <a:gd name="T43" fmla="*/ 370925 h 843643"/>
                  <a:gd name="T44" fmla="*/ 533433 w 1372451"/>
                  <a:gd name="T45" fmla="*/ 353382 h 843643"/>
                  <a:gd name="T46" fmla="*/ 565054 w 1372451"/>
                  <a:gd name="T47" fmla="*/ 330829 h 843643"/>
                  <a:gd name="T48" fmla="*/ 596674 w 1372451"/>
                  <a:gd name="T49" fmla="*/ 310777 h 843643"/>
                  <a:gd name="T50" fmla="*/ 611043 w 1372451"/>
                  <a:gd name="T51" fmla="*/ 298246 h 843643"/>
                  <a:gd name="T52" fmla="*/ 668530 w 1372451"/>
                  <a:gd name="T53" fmla="*/ 293235 h 843643"/>
                  <a:gd name="T54" fmla="*/ 694400 w 1372451"/>
                  <a:gd name="T55" fmla="*/ 285715 h 843643"/>
                  <a:gd name="T56" fmla="*/ 723148 w 1372451"/>
                  <a:gd name="T57" fmla="*/ 270677 h 843643"/>
                  <a:gd name="T58" fmla="*/ 884106 w 1372451"/>
                  <a:gd name="T59" fmla="*/ 268170 h 843643"/>
                  <a:gd name="T60" fmla="*/ 930096 w 1372451"/>
                  <a:gd name="T61" fmla="*/ 275689 h 843643"/>
                  <a:gd name="T62" fmla="*/ 996208 w 1372451"/>
                  <a:gd name="T63" fmla="*/ 275689 h 843643"/>
                  <a:gd name="T64" fmla="*/ 1036446 w 1372451"/>
                  <a:gd name="T65" fmla="*/ 245613 h 843643"/>
                  <a:gd name="T66" fmla="*/ 1056568 w 1372451"/>
                  <a:gd name="T67" fmla="*/ 225563 h 843643"/>
                  <a:gd name="T68" fmla="*/ 1079569 w 1372451"/>
                  <a:gd name="T69" fmla="*/ 197995 h 843643"/>
                  <a:gd name="T70" fmla="*/ 1099692 w 1372451"/>
                  <a:gd name="T71" fmla="*/ 180448 h 843643"/>
                  <a:gd name="T72" fmla="*/ 1231917 w 1372451"/>
                  <a:gd name="T73" fmla="*/ 172932 h 843643"/>
                  <a:gd name="T74" fmla="*/ 1252034 w 1372451"/>
                  <a:gd name="T75" fmla="*/ 167919 h 843643"/>
                  <a:gd name="T76" fmla="*/ 1280776 w 1372451"/>
                  <a:gd name="T77" fmla="*/ 150377 h 843643"/>
                  <a:gd name="T78" fmla="*/ 1300898 w 1372451"/>
                  <a:gd name="T79" fmla="*/ 140351 h 843643"/>
                  <a:gd name="T80" fmla="*/ 1315270 w 1372451"/>
                  <a:gd name="T81" fmla="*/ 115286 h 843643"/>
                  <a:gd name="T82" fmla="*/ 1346889 w 1372451"/>
                  <a:gd name="T83" fmla="*/ 87719 h 843643"/>
                  <a:gd name="T84" fmla="*/ 1369884 w 1372451"/>
                  <a:gd name="T85" fmla="*/ 67668 h 843643"/>
                  <a:gd name="T86" fmla="*/ 1415872 w 1372451"/>
                  <a:gd name="T87" fmla="*/ 32584 h 843643"/>
                  <a:gd name="T88" fmla="*/ 1441741 w 1372451"/>
                  <a:gd name="T89" fmla="*/ 12532 h 84364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72451"/>
                  <a:gd name="T136" fmla="*/ 0 h 843643"/>
                  <a:gd name="T137" fmla="*/ 1372451 w 1372451"/>
                  <a:gd name="T138" fmla="*/ 843643 h 84364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72451" h="843643">
                    <a:moveTo>
                      <a:pt x="9746" y="843643"/>
                    </a:moveTo>
                    <a:cubicBezTo>
                      <a:pt x="10429" y="833406"/>
                      <a:pt x="0" y="800100"/>
                      <a:pt x="20632" y="800100"/>
                    </a:cubicBezTo>
                    <a:cubicBezTo>
                      <a:pt x="23501" y="800100"/>
                      <a:pt x="26075" y="801915"/>
                      <a:pt x="28796" y="802822"/>
                    </a:cubicBezTo>
                    <a:cubicBezTo>
                      <a:pt x="30610" y="805543"/>
                      <a:pt x="31685" y="808943"/>
                      <a:pt x="34239" y="810986"/>
                    </a:cubicBezTo>
                    <a:cubicBezTo>
                      <a:pt x="42334" y="817461"/>
                      <a:pt x="67258" y="811222"/>
                      <a:pt x="69618" y="810986"/>
                    </a:cubicBezTo>
                    <a:cubicBezTo>
                      <a:pt x="70525" y="808265"/>
                      <a:pt x="71056" y="805388"/>
                      <a:pt x="72339" y="802822"/>
                    </a:cubicBezTo>
                    <a:cubicBezTo>
                      <a:pt x="82889" y="781720"/>
                      <a:pt x="73664" y="807012"/>
                      <a:pt x="80503" y="786493"/>
                    </a:cubicBezTo>
                    <a:cubicBezTo>
                      <a:pt x="81410" y="779236"/>
                      <a:pt x="81917" y="771918"/>
                      <a:pt x="83225" y="764722"/>
                    </a:cubicBezTo>
                    <a:cubicBezTo>
                      <a:pt x="83738" y="761899"/>
                      <a:pt x="85324" y="759358"/>
                      <a:pt x="85946" y="756557"/>
                    </a:cubicBezTo>
                    <a:cubicBezTo>
                      <a:pt x="87616" y="749040"/>
                      <a:pt x="87715" y="739411"/>
                      <a:pt x="91389" y="732064"/>
                    </a:cubicBezTo>
                    <a:cubicBezTo>
                      <a:pt x="92852" y="729139"/>
                      <a:pt x="95018" y="726621"/>
                      <a:pt x="96832" y="723900"/>
                    </a:cubicBezTo>
                    <a:cubicBezTo>
                      <a:pt x="99045" y="717259"/>
                      <a:pt x="99720" y="712848"/>
                      <a:pt x="104996" y="707572"/>
                    </a:cubicBezTo>
                    <a:cubicBezTo>
                      <a:pt x="120723" y="691847"/>
                      <a:pt x="105719" y="714029"/>
                      <a:pt x="121325" y="693964"/>
                    </a:cubicBezTo>
                    <a:cubicBezTo>
                      <a:pt x="125341" y="688801"/>
                      <a:pt x="128582" y="683079"/>
                      <a:pt x="132211" y="677636"/>
                    </a:cubicBezTo>
                    <a:lnTo>
                      <a:pt x="143096" y="661307"/>
                    </a:lnTo>
                    <a:cubicBezTo>
                      <a:pt x="144910" y="658586"/>
                      <a:pt x="147504" y="656246"/>
                      <a:pt x="148539" y="653143"/>
                    </a:cubicBezTo>
                    <a:cubicBezTo>
                      <a:pt x="150480" y="647322"/>
                      <a:pt x="151740" y="641156"/>
                      <a:pt x="156703" y="636814"/>
                    </a:cubicBezTo>
                    <a:cubicBezTo>
                      <a:pt x="161626" y="632506"/>
                      <a:pt x="173032" y="625929"/>
                      <a:pt x="173032" y="625929"/>
                    </a:cubicBezTo>
                    <a:cubicBezTo>
                      <a:pt x="182103" y="612321"/>
                      <a:pt x="175754" y="619578"/>
                      <a:pt x="194803" y="606879"/>
                    </a:cubicBezTo>
                    <a:lnTo>
                      <a:pt x="202968" y="601436"/>
                    </a:lnTo>
                    <a:cubicBezTo>
                      <a:pt x="204782" y="598715"/>
                      <a:pt x="206948" y="596197"/>
                      <a:pt x="208411" y="593272"/>
                    </a:cubicBezTo>
                    <a:cubicBezTo>
                      <a:pt x="212839" y="584416"/>
                      <a:pt x="208774" y="584744"/>
                      <a:pt x="216575" y="576943"/>
                    </a:cubicBezTo>
                    <a:cubicBezTo>
                      <a:pt x="218888" y="574630"/>
                      <a:pt x="222018" y="573314"/>
                      <a:pt x="224739" y="571500"/>
                    </a:cubicBezTo>
                    <a:cubicBezTo>
                      <a:pt x="244194" y="542319"/>
                      <a:pt x="213893" y="586611"/>
                      <a:pt x="238346" y="555172"/>
                    </a:cubicBezTo>
                    <a:cubicBezTo>
                      <a:pt x="242362" y="550008"/>
                      <a:pt x="249232" y="538843"/>
                      <a:pt x="249232" y="538843"/>
                    </a:cubicBezTo>
                    <a:cubicBezTo>
                      <a:pt x="252068" y="530335"/>
                      <a:pt x="254817" y="519698"/>
                      <a:pt x="262839" y="514350"/>
                    </a:cubicBezTo>
                    <a:lnTo>
                      <a:pt x="271003" y="508907"/>
                    </a:lnTo>
                    <a:cubicBezTo>
                      <a:pt x="271910" y="506186"/>
                      <a:pt x="271696" y="502771"/>
                      <a:pt x="273725" y="500743"/>
                    </a:cubicBezTo>
                    <a:cubicBezTo>
                      <a:pt x="275753" y="498715"/>
                      <a:pt x="279323" y="499305"/>
                      <a:pt x="281889" y="498022"/>
                    </a:cubicBezTo>
                    <a:cubicBezTo>
                      <a:pt x="284814" y="496559"/>
                      <a:pt x="287064" y="493907"/>
                      <a:pt x="290053" y="492579"/>
                    </a:cubicBezTo>
                    <a:cubicBezTo>
                      <a:pt x="295296" y="490249"/>
                      <a:pt x="300756" y="488261"/>
                      <a:pt x="306382" y="487136"/>
                    </a:cubicBezTo>
                    <a:cubicBezTo>
                      <a:pt x="314138" y="485584"/>
                      <a:pt x="323198" y="483996"/>
                      <a:pt x="330875" y="481693"/>
                    </a:cubicBezTo>
                    <a:cubicBezTo>
                      <a:pt x="336370" y="480044"/>
                      <a:pt x="341760" y="478064"/>
                      <a:pt x="347203" y="476250"/>
                    </a:cubicBezTo>
                    <a:lnTo>
                      <a:pt x="371696" y="468086"/>
                    </a:lnTo>
                    <a:cubicBezTo>
                      <a:pt x="374418" y="467179"/>
                      <a:pt x="377078" y="466060"/>
                      <a:pt x="379861" y="465364"/>
                    </a:cubicBezTo>
                    <a:cubicBezTo>
                      <a:pt x="387118" y="463550"/>
                      <a:pt x="394536" y="462287"/>
                      <a:pt x="401632" y="459922"/>
                    </a:cubicBezTo>
                    <a:lnTo>
                      <a:pt x="417961" y="454479"/>
                    </a:lnTo>
                    <a:lnTo>
                      <a:pt x="434289" y="443593"/>
                    </a:lnTo>
                    <a:lnTo>
                      <a:pt x="442453" y="438150"/>
                    </a:lnTo>
                    <a:cubicBezTo>
                      <a:pt x="444267" y="435429"/>
                      <a:pt x="445435" y="432140"/>
                      <a:pt x="447896" y="429986"/>
                    </a:cubicBezTo>
                    <a:cubicBezTo>
                      <a:pt x="452819" y="425678"/>
                      <a:pt x="464225" y="419100"/>
                      <a:pt x="464225" y="419100"/>
                    </a:cubicBezTo>
                    <a:cubicBezTo>
                      <a:pt x="466039" y="416379"/>
                      <a:pt x="467114" y="412979"/>
                      <a:pt x="469668" y="410936"/>
                    </a:cubicBezTo>
                    <a:cubicBezTo>
                      <a:pt x="471908" y="409144"/>
                      <a:pt x="475266" y="409497"/>
                      <a:pt x="477832" y="408214"/>
                    </a:cubicBezTo>
                    <a:cubicBezTo>
                      <a:pt x="480757" y="406751"/>
                      <a:pt x="483275" y="404586"/>
                      <a:pt x="485996" y="402772"/>
                    </a:cubicBezTo>
                    <a:cubicBezTo>
                      <a:pt x="501594" y="379374"/>
                      <a:pt x="480826" y="406907"/>
                      <a:pt x="499603" y="391886"/>
                    </a:cubicBezTo>
                    <a:cubicBezTo>
                      <a:pt x="502157" y="389843"/>
                      <a:pt x="502733" y="386035"/>
                      <a:pt x="505046" y="383722"/>
                    </a:cubicBezTo>
                    <a:cubicBezTo>
                      <a:pt x="510321" y="378447"/>
                      <a:pt x="514736" y="377771"/>
                      <a:pt x="521375" y="375557"/>
                    </a:cubicBezTo>
                    <a:cubicBezTo>
                      <a:pt x="525391" y="369533"/>
                      <a:pt x="528696" y="363420"/>
                      <a:pt x="534982" y="359229"/>
                    </a:cubicBezTo>
                    <a:cubicBezTo>
                      <a:pt x="537369" y="357638"/>
                      <a:pt x="540425" y="357414"/>
                      <a:pt x="543146" y="356507"/>
                    </a:cubicBezTo>
                    <a:cubicBezTo>
                      <a:pt x="552218" y="342900"/>
                      <a:pt x="545867" y="350158"/>
                      <a:pt x="564918" y="337457"/>
                    </a:cubicBezTo>
                    <a:lnTo>
                      <a:pt x="573082" y="332014"/>
                    </a:lnTo>
                    <a:cubicBezTo>
                      <a:pt x="574896" y="329293"/>
                      <a:pt x="575451" y="324968"/>
                      <a:pt x="578525" y="323850"/>
                    </a:cubicBezTo>
                    <a:cubicBezTo>
                      <a:pt x="586245" y="321043"/>
                      <a:pt x="594844" y="321946"/>
                      <a:pt x="603018" y="321129"/>
                    </a:cubicBezTo>
                    <a:lnTo>
                      <a:pt x="632953" y="318407"/>
                    </a:lnTo>
                    <a:lnTo>
                      <a:pt x="649282" y="312964"/>
                    </a:lnTo>
                    <a:lnTo>
                      <a:pt x="657446" y="310243"/>
                    </a:lnTo>
                    <a:cubicBezTo>
                      <a:pt x="677340" y="296981"/>
                      <a:pt x="652326" y="313169"/>
                      <a:pt x="676496" y="299357"/>
                    </a:cubicBezTo>
                    <a:cubicBezTo>
                      <a:pt x="679336" y="297734"/>
                      <a:pt x="681672" y="295242"/>
                      <a:pt x="684661" y="293914"/>
                    </a:cubicBezTo>
                    <a:cubicBezTo>
                      <a:pt x="689904" y="291584"/>
                      <a:pt x="700989" y="288472"/>
                      <a:pt x="700989" y="288472"/>
                    </a:cubicBezTo>
                    <a:lnTo>
                      <a:pt x="837061" y="291193"/>
                    </a:lnTo>
                    <a:cubicBezTo>
                      <a:pt x="840798" y="291331"/>
                      <a:pt x="844266" y="293245"/>
                      <a:pt x="847946" y="293914"/>
                    </a:cubicBezTo>
                    <a:cubicBezTo>
                      <a:pt x="864823" y="296983"/>
                      <a:pt x="865575" y="295600"/>
                      <a:pt x="880603" y="299357"/>
                    </a:cubicBezTo>
                    <a:cubicBezTo>
                      <a:pt x="883386" y="300053"/>
                      <a:pt x="886046" y="301172"/>
                      <a:pt x="888768" y="302079"/>
                    </a:cubicBezTo>
                    <a:cubicBezTo>
                      <a:pt x="906911" y="301172"/>
                      <a:pt x="925099" y="300931"/>
                      <a:pt x="943196" y="299357"/>
                    </a:cubicBezTo>
                    <a:cubicBezTo>
                      <a:pt x="958419" y="298033"/>
                      <a:pt x="947826" y="291121"/>
                      <a:pt x="962246" y="280307"/>
                    </a:cubicBezTo>
                    <a:cubicBezTo>
                      <a:pt x="975749" y="270181"/>
                      <a:pt x="969358" y="274659"/>
                      <a:pt x="981296" y="266700"/>
                    </a:cubicBezTo>
                    <a:cubicBezTo>
                      <a:pt x="983154" y="261128"/>
                      <a:pt x="984592" y="254430"/>
                      <a:pt x="989461" y="250372"/>
                    </a:cubicBezTo>
                    <a:cubicBezTo>
                      <a:pt x="992577" y="247775"/>
                      <a:pt x="996718" y="246743"/>
                      <a:pt x="1000346" y="244929"/>
                    </a:cubicBezTo>
                    <a:cubicBezTo>
                      <a:pt x="1002160" y="239486"/>
                      <a:pt x="1001015" y="231783"/>
                      <a:pt x="1005789" y="228600"/>
                    </a:cubicBezTo>
                    <a:cubicBezTo>
                      <a:pt x="1017155" y="221022"/>
                      <a:pt x="1011640" y="225470"/>
                      <a:pt x="1022118" y="214993"/>
                    </a:cubicBezTo>
                    <a:cubicBezTo>
                      <a:pt x="1027300" y="199444"/>
                      <a:pt x="1020563" y="212400"/>
                      <a:pt x="1033003" y="204107"/>
                    </a:cubicBezTo>
                    <a:cubicBezTo>
                      <a:pt x="1036205" y="201972"/>
                      <a:pt x="1037804" y="197812"/>
                      <a:pt x="1041168" y="195943"/>
                    </a:cubicBezTo>
                    <a:cubicBezTo>
                      <a:pt x="1046183" y="193157"/>
                      <a:pt x="1051761" y="190643"/>
                      <a:pt x="1057496" y="190500"/>
                    </a:cubicBezTo>
                    <a:lnTo>
                      <a:pt x="1166353" y="187779"/>
                    </a:lnTo>
                    <a:cubicBezTo>
                      <a:pt x="1169982" y="186872"/>
                      <a:pt x="1173643" y="186085"/>
                      <a:pt x="1177239" y="185057"/>
                    </a:cubicBezTo>
                    <a:cubicBezTo>
                      <a:pt x="1179997" y="184269"/>
                      <a:pt x="1182620" y="183032"/>
                      <a:pt x="1185403" y="182336"/>
                    </a:cubicBezTo>
                    <a:cubicBezTo>
                      <a:pt x="1189891" y="181214"/>
                      <a:pt x="1194475" y="180521"/>
                      <a:pt x="1199011" y="179614"/>
                    </a:cubicBezTo>
                    <a:cubicBezTo>
                      <a:pt x="1227243" y="160795"/>
                      <a:pt x="1185006" y="190900"/>
                      <a:pt x="1212618" y="163286"/>
                    </a:cubicBezTo>
                    <a:cubicBezTo>
                      <a:pt x="1215486" y="160417"/>
                      <a:pt x="1219981" y="159856"/>
                      <a:pt x="1223503" y="157843"/>
                    </a:cubicBezTo>
                    <a:cubicBezTo>
                      <a:pt x="1226343" y="156220"/>
                      <a:pt x="1228946" y="154214"/>
                      <a:pt x="1231668" y="152400"/>
                    </a:cubicBezTo>
                    <a:cubicBezTo>
                      <a:pt x="1233482" y="146957"/>
                      <a:pt x="1233669" y="140662"/>
                      <a:pt x="1237111" y="136072"/>
                    </a:cubicBezTo>
                    <a:cubicBezTo>
                      <a:pt x="1239832" y="132443"/>
                      <a:pt x="1242639" y="128877"/>
                      <a:pt x="1245275" y="125186"/>
                    </a:cubicBezTo>
                    <a:cubicBezTo>
                      <a:pt x="1247176" y="122525"/>
                      <a:pt x="1248545" y="119467"/>
                      <a:pt x="1250718" y="117022"/>
                    </a:cubicBezTo>
                    <a:cubicBezTo>
                      <a:pt x="1264277" y="101768"/>
                      <a:pt x="1262801" y="103523"/>
                      <a:pt x="1275211" y="95250"/>
                    </a:cubicBezTo>
                    <a:cubicBezTo>
                      <a:pt x="1278652" y="84925"/>
                      <a:pt x="1277518" y="84272"/>
                      <a:pt x="1288818" y="76200"/>
                    </a:cubicBezTo>
                    <a:cubicBezTo>
                      <a:pt x="1291152" y="74533"/>
                      <a:pt x="1294261" y="74386"/>
                      <a:pt x="1296982" y="73479"/>
                    </a:cubicBezTo>
                    <a:cubicBezTo>
                      <a:pt x="1298796" y="70757"/>
                      <a:pt x="1300252" y="67759"/>
                      <a:pt x="1302425" y="65314"/>
                    </a:cubicBezTo>
                    <a:cubicBezTo>
                      <a:pt x="1311895" y="54661"/>
                      <a:pt x="1326580" y="40028"/>
                      <a:pt x="1340525" y="35379"/>
                    </a:cubicBezTo>
                    <a:lnTo>
                      <a:pt x="1356853" y="29936"/>
                    </a:lnTo>
                    <a:cubicBezTo>
                      <a:pt x="1372451" y="6541"/>
                      <a:pt x="1353750" y="36141"/>
                      <a:pt x="1365018" y="13607"/>
                    </a:cubicBezTo>
                    <a:cubicBezTo>
                      <a:pt x="1371467" y="709"/>
                      <a:pt x="1370461" y="10502"/>
                      <a:pt x="1370461" y="0"/>
                    </a:cubicBezTo>
                  </a:path>
                </a:pathLst>
              </a:custGeom>
              <a:noFill/>
              <a:ln w="25400" algn="ctr">
                <a:solidFill>
                  <a:srgbClr val="FF0000"/>
                </a:solidFill>
                <a:prstDash val="sysDot"/>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a:ln>
                    <a:noFill/>
                  </a:ln>
                  <a:solidFill>
                    <a:sysClr val="windowText" lastClr="000000"/>
                  </a:solidFill>
                  <a:effectLst/>
                  <a:uLnTx/>
                  <a:uFillTx/>
                  <a:latin typeface="Trebuchet MS" panose="020B0603020202020204" pitchFamily="34" charset="0"/>
                </a:endParaRPr>
              </a:p>
            </p:txBody>
          </p:sp>
          <p:cxnSp>
            <p:nvCxnSpPr>
              <p:cNvPr id="539" name="150 Conector recto de flecha"/>
              <p:cNvCxnSpPr>
                <a:cxnSpLocks noChangeShapeType="1"/>
              </p:cNvCxnSpPr>
              <p:nvPr/>
            </p:nvCxnSpPr>
            <p:spPr bwMode="auto">
              <a:xfrm>
                <a:off x="7373938" y="1255861"/>
                <a:ext cx="212725" cy="285750"/>
              </a:xfrm>
              <a:prstGeom prst="straightConnector1">
                <a:avLst/>
              </a:prstGeom>
              <a:noFill/>
              <a:ln w="25400" algn="ctr">
                <a:solidFill>
                  <a:schemeClr val="tx1"/>
                </a:solidFill>
                <a:round/>
                <a:headEnd/>
                <a:tailEnd type="arrow" w="med" len="med"/>
              </a:ln>
            </p:spPr>
          </p:cxnSp>
          <p:sp>
            <p:nvSpPr>
              <p:cNvPr id="540" name="Rectangle 109"/>
              <p:cNvSpPr>
                <a:spLocks noChangeArrowheads="1"/>
              </p:cNvSpPr>
              <p:nvPr/>
            </p:nvSpPr>
            <p:spPr bwMode="auto">
              <a:xfrm>
                <a:off x="6467906" y="764188"/>
                <a:ext cx="1469226" cy="552424"/>
              </a:xfrm>
              <a:prstGeom prst="rect">
                <a:avLst/>
              </a:prstGeom>
              <a:noFill/>
              <a:ln w="9525">
                <a:noFill/>
                <a:miter lim="800000"/>
                <a:headEnd/>
                <a:tailEnd/>
              </a:ln>
            </p:spPr>
            <p:txBody>
              <a:bodyPr wrap="square" lIns="92160" tIns="46080" rIns="92160" bIns="46080">
                <a:spAutoFit/>
              </a:bodyPr>
              <a:lstStyle/>
              <a:p>
                <a:pPr marL="0" marR="0" lvl="0" indent="0" algn="ctr" defTabSz="914400" eaLnBrk="0" fontAlgn="auto" latinLnBrk="0" hangingPunct="0">
                  <a:lnSpc>
                    <a:spcPct val="100000"/>
                  </a:lnSpc>
                  <a:spcBef>
                    <a:spcPts val="2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900" b="1" i="0" u="none" strike="noStrike" kern="0" cap="none" spc="0" normalizeH="0" baseline="0" noProof="0" dirty="0">
                    <a:ln>
                      <a:noFill/>
                    </a:ln>
                    <a:solidFill>
                      <a:srgbClr val="000000"/>
                    </a:solidFill>
                    <a:effectLst/>
                    <a:uLnTx/>
                    <a:uFillTx/>
                    <a:latin typeface="Trebuchet MS" panose="020B0603020202020204" pitchFamily="34" charset="0"/>
                  </a:rPr>
                  <a:t>VÍA PUERTO</a:t>
                </a:r>
              </a:p>
              <a:p>
                <a:pPr marL="0" marR="0" lvl="0" indent="0" algn="ctr" defTabSz="914400" eaLnBrk="0" fontAlgn="auto" latinLnBrk="0" hangingPunct="0">
                  <a:lnSpc>
                    <a:spcPct val="100000"/>
                  </a:lnSpc>
                  <a:spcBef>
                    <a:spcPts val="2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900" b="1" i="0" u="none" strike="noStrike" kern="0" cap="none" spc="0" normalizeH="0" baseline="0" noProof="0" dirty="0">
                    <a:ln>
                      <a:noFill/>
                    </a:ln>
                    <a:solidFill>
                      <a:srgbClr val="000000"/>
                    </a:solidFill>
                    <a:effectLst/>
                    <a:uLnTx/>
                    <a:uFillTx/>
                    <a:latin typeface="Trebuchet MS" panose="020B0603020202020204" pitchFamily="34" charset="0"/>
                  </a:rPr>
                  <a:t> VALDIVIA – PROYECTO</a:t>
                </a:r>
              </a:p>
              <a:p>
                <a:pPr marL="0" marR="0" lvl="0" indent="0" algn="ctr" defTabSz="914400" eaLnBrk="0" fontAlgn="auto" latinLnBrk="0" hangingPunct="0">
                  <a:lnSpc>
                    <a:spcPct val="100000"/>
                  </a:lnSpc>
                  <a:spcBef>
                    <a:spcPts val="20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s-CO" sz="900" b="1" i="0" u="none" strike="noStrike" kern="0" cap="none" spc="0" normalizeH="0" baseline="0" noProof="0" dirty="0">
                    <a:ln>
                      <a:noFill/>
                    </a:ln>
                    <a:solidFill>
                      <a:srgbClr val="000000"/>
                    </a:solidFill>
                    <a:effectLst/>
                    <a:uLnTx/>
                    <a:uFillTx/>
                    <a:latin typeface="Trebuchet MS" panose="020B0603020202020204" pitchFamily="34" charset="0"/>
                  </a:rPr>
                  <a:t>38 km</a:t>
                </a:r>
              </a:p>
            </p:txBody>
          </p:sp>
          <p:pic>
            <p:nvPicPr>
              <p:cNvPr id="541" name="Picture 10"/>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564063" y="1495574"/>
                <a:ext cx="631825" cy="1208087"/>
              </a:xfrm>
              <a:prstGeom prst="rect">
                <a:avLst/>
              </a:prstGeom>
              <a:noFill/>
              <a:ln w="9525">
                <a:noFill/>
                <a:miter lim="800000"/>
                <a:headEnd/>
                <a:tailEnd/>
              </a:ln>
            </p:spPr>
          </p:pic>
        </p:grpSp>
      </p:grpSp>
      <p:sp>
        <p:nvSpPr>
          <p:cNvPr id="543" name="14 Rectángulo"/>
          <p:cNvSpPr/>
          <p:nvPr/>
        </p:nvSpPr>
        <p:spPr>
          <a:xfrm>
            <a:off x="486637" y="5473452"/>
            <a:ext cx="3548539" cy="830997"/>
          </a:xfrm>
          <a:prstGeom prst="rect">
            <a:avLst/>
          </a:prstGeom>
          <a:ln/>
        </p:spPr>
        <p:style>
          <a:lnRef idx="1">
            <a:schemeClr val="dk1"/>
          </a:lnRef>
          <a:fillRef idx="2">
            <a:schemeClr val="dk1"/>
          </a:fillRef>
          <a:effectRef idx="1">
            <a:schemeClr val="dk1"/>
          </a:effectRef>
          <a:fontRef idx="minor">
            <a:schemeClr val="dk1"/>
          </a:fontRef>
        </p:style>
        <p:txBody>
          <a:bodyPr wrap="square">
            <a:spAutoFit/>
          </a:bodyPr>
          <a:lstStyle/>
          <a:p>
            <a:pPr algn="just" fontAlgn="base">
              <a:spcBef>
                <a:spcPct val="0"/>
              </a:spcBef>
              <a:spcAft>
                <a:spcPct val="0"/>
              </a:spcAft>
              <a:defRPr/>
            </a:pPr>
            <a:r>
              <a:rPr lang="es-CO" sz="1200" kern="0" dirty="0">
                <a:solidFill>
                  <a:schemeClr val="tx1">
                    <a:lumMod val="90000"/>
                    <a:lumOff val="10000"/>
                  </a:schemeClr>
                </a:solidFill>
                <a:effectLst>
                  <a:outerShdw blurRad="38100" dist="38100" dir="2700000" algn="tl">
                    <a:srgbClr val="000000">
                      <a:alpha val="43137"/>
                    </a:srgbClr>
                  </a:outerShdw>
                </a:effectLst>
                <a:latin typeface="Trebuchet MS"/>
                <a:cs typeface="Arial" pitchFamily="34" charset="0"/>
              </a:rPr>
              <a:t>Área de influencia 12 municipios</a:t>
            </a:r>
            <a:r>
              <a:rPr lang="es-CO" sz="1200" kern="0" dirty="0">
                <a:solidFill>
                  <a:schemeClr val="tx1">
                    <a:lumMod val="90000"/>
                    <a:lumOff val="10000"/>
                  </a:schemeClr>
                </a:solidFill>
                <a:latin typeface="Trebuchet MS"/>
                <a:cs typeface="Arial" pitchFamily="34" charset="0"/>
              </a:rPr>
              <a:t>: Ituango, Peque, Buriticá, Santa Fe de Antioquia, Olaya, Liborina, Sabanalarga, Toledo, Briceño, San Andrés de Cuerquia, Puerto Valdivia y  Yarumal.</a:t>
            </a:r>
          </a:p>
        </p:txBody>
      </p:sp>
      <p:cxnSp>
        <p:nvCxnSpPr>
          <p:cNvPr id="544" name="140 Conector recto"/>
          <p:cNvCxnSpPr/>
          <p:nvPr/>
        </p:nvCxnSpPr>
        <p:spPr>
          <a:xfrm flipV="1">
            <a:off x="2356985" y="2057550"/>
            <a:ext cx="4422174" cy="1333798"/>
          </a:xfrm>
          <a:prstGeom prst="line">
            <a:avLst/>
          </a:prstGeom>
          <a:ln w="22225" cmpd="sng">
            <a:solidFill>
              <a:schemeClr val="tx1"/>
            </a:solidFill>
          </a:ln>
          <a:effectLst>
            <a:outerShdw blurRad="50800" dist="12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45" name="141 Conector recto"/>
          <p:cNvCxnSpPr/>
          <p:nvPr/>
        </p:nvCxnSpPr>
        <p:spPr>
          <a:xfrm>
            <a:off x="1945064" y="4006936"/>
            <a:ext cx="3960803" cy="264083"/>
          </a:xfrm>
          <a:prstGeom prst="line">
            <a:avLst/>
          </a:prstGeom>
          <a:ln w="22225" cmpd="sng">
            <a:solidFill>
              <a:schemeClr val="tx1"/>
            </a:solidFill>
          </a:ln>
          <a:effectLst>
            <a:outerShdw blurRad="50800" dist="12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11795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9"/>
          </p:nvPr>
        </p:nvSpPr>
        <p:spPr/>
        <p:txBody>
          <a:bodyPr lIns="396000" anchor="ctr"/>
          <a:lstStyle/>
          <a:p>
            <a:pPr marL="179388" indent="-179388" defTabSz="180000">
              <a:lnSpc>
                <a:spcPct val="145000"/>
              </a:lnSpc>
              <a:spcBef>
                <a:spcPts val="0"/>
              </a:spcBef>
              <a:spcAft>
                <a:spcPts val="600"/>
              </a:spcAft>
              <a:buFont typeface="Wingdings" panose="05000000000000000000" pitchFamily="2" charset="2"/>
              <a:buChar char="§"/>
            </a:pPr>
            <a:r>
              <a:rPr lang="es-ES" b="1" u="sng" dirty="0">
                <a:solidFill>
                  <a:srgbClr val="007934"/>
                </a:solidFill>
                <a:latin typeface="Trebuchet MS" pitchFamily="34" charset="0"/>
              </a:rPr>
              <a:t>Unidades</a:t>
            </a:r>
            <a:r>
              <a:rPr lang="es-ES" b="1" dirty="0">
                <a:solidFill>
                  <a:srgbClr val="007934"/>
                </a:solidFill>
                <a:latin typeface="Trebuchet MS" pitchFamily="34" charset="0"/>
              </a:rPr>
              <a:t>: </a:t>
            </a:r>
            <a:r>
              <a:rPr lang="es-ES" dirty="0">
                <a:solidFill>
                  <a:schemeClr val="tx1">
                    <a:lumMod val="90000"/>
                    <a:lumOff val="10000"/>
                  </a:schemeClr>
                </a:solidFill>
              </a:rPr>
              <a:t>4 unidades (Primera etapa): 30 de Noviembre de 2018, 28 de febrero, 30 de mayo, 27 de agosto de 2019.  </a:t>
            </a:r>
          </a:p>
          <a:p>
            <a:pPr marL="180975">
              <a:lnSpc>
                <a:spcPct val="145000"/>
              </a:lnSpc>
              <a:spcBef>
                <a:spcPts val="0"/>
              </a:spcBef>
              <a:spcAft>
                <a:spcPts val="600"/>
              </a:spcAft>
            </a:pPr>
            <a:r>
              <a:rPr lang="es-ES" dirty="0">
                <a:solidFill>
                  <a:schemeClr val="tx1">
                    <a:lumMod val="90000"/>
                    <a:lumOff val="10000"/>
                  </a:schemeClr>
                </a:solidFill>
              </a:rPr>
              <a:t>4 unidades (Segunda etapa), entrada 3 años después de la primera etapa. </a:t>
            </a:r>
          </a:p>
          <a:p>
            <a:pPr marL="180975" indent="-180975">
              <a:lnSpc>
                <a:spcPct val="145000"/>
              </a:lnSpc>
              <a:spcBef>
                <a:spcPts val="0"/>
              </a:spcBef>
              <a:spcAft>
                <a:spcPts val="600"/>
              </a:spcAft>
              <a:buFont typeface="Wingdings" panose="05000000000000000000" pitchFamily="2" charset="2"/>
              <a:buChar char="§"/>
            </a:pPr>
            <a:r>
              <a:rPr lang="es-ES" b="1" u="sng" dirty="0">
                <a:solidFill>
                  <a:srgbClr val="007934"/>
                </a:solidFill>
                <a:latin typeface="Trebuchet MS" pitchFamily="34" charset="0"/>
              </a:rPr>
              <a:t>Potencia/Unidad</a:t>
            </a:r>
            <a:r>
              <a:rPr lang="es-ES" b="1" dirty="0">
                <a:solidFill>
                  <a:srgbClr val="007934"/>
                </a:solidFill>
                <a:latin typeface="Trebuchet MS" pitchFamily="34" charset="0"/>
              </a:rPr>
              <a:t>: </a:t>
            </a:r>
            <a:r>
              <a:rPr lang="es-ES" dirty="0">
                <a:solidFill>
                  <a:schemeClr val="tx1">
                    <a:lumMod val="90000"/>
                    <a:lumOff val="10000"/>
                  </a:schemeClr>
                </a:solidFill>
              </a:rPr>
              <a:t>300 MW, Mínimo Técnico 150 MW.</a:t>
            </a:r>
          </a:p>
          <a:p>
            <a:pPr marL="180975" indent="-180975">
              <a:lnSpc>
                <a:spcPct val="145000"/>
              </a:lnSpc>
              <a:spcBef>
                <a:spcPts val="0"/>
              </a:spcBef>
              <a:spcAft>
                <a:spcPts val="600"/>
              </a:spcAft>
              <a:buFont typeface="Wingdings" panose="05000000000000000000" pitchFamily="2" charset="2"/>
              <a:buChar char="§"/>
            </a:pPr>
            <a:r>
              <a:rPr lang="es-ES" b="1" u="sng" dirty="0">
                <a:solidFill>
                  <a:srgbClr val="007934"/>
                </a:solidFill>
                <a:latin typeface="Trebuchet MS" pitchFamily="34" charset="0"/>
              </a:rPr>
              <a:t>Caudal de diseño de la Planta</a:t>
            </a:r>
            <a:r>
              <a:rPr lang="es-ES" b="1" dirty="0">
                <a:solidFill>
                  <a:srgbClr val="007934"/>
                </a:solidFill>
                <a:latin typeface="Trebuchet MS" pitchFamily="34" charset="0"/>
              </a:rPr>
              <a:t>:</a:t>
            </a:r>
            <a:r>
              <a:rPr lang="es-ES" dirty="0">
                <a:solidFill>
                  <a:schemeClr val="tx1">
                    <a:lumMod val="90000"/>
                    <a:lumOff val="10000"/>
                  </a:schemeClr>
                </a:solidFill>
              </a:rPr>
              <a:t> 1,350 m</a:t>
            </a:r>
            <a:r>
              <a:rPr lang="es-ES" baseline="30000" dirty="0">
                <a:solidFill>
                  <a:schemeClr val="tx1">
                    <a:lumMod val="90000"/>
                    <a:lumOff val="10000"/>
                  </a:schemeClr>
                </a:solidFill>
              </a:rPr>
              <a:t>3</a:t>
            </a:r>
            <a:r>
              <a:rPr lang="es-ES" dirty="0">
                <a:solidFill>
                  <a:schemeClr val="tx1">
                    <a:lumMod val="90000"/>
                    <a:lumOff val="10000"/>
                  </a:schemeClr>
                </a:solidFill>
              </a:rPr>
              <a:t>/s.</a:t>
            </a:r>
          </a:p>
          <a:p>
            <a:pPr marL="180975" indent="-180975">
              <a:lnSpc>
                <a:spcPct val="145000"/>
              </a:lnSpc>
              <a:buFont typeface="Wingdings" panose="05000000000000000000" pitchFamily="2" charset="2"/>
              <a:buChar char="§"/>
            </a:pPr>
            <a:r>
              <a:rPr lang="es-ES" b="1" u="sng" dirty="0">
                <a:solidFill>
                  <a:srgbClr val="007934"/>
                </a:solidFill>
                <a:latin typeface="Trebuchet MS" pitchFamily="34" charset="0"/>
              </a:rPr>
              <a:t>Caudal para el Mínimo Técnico de una Unidad</a:t>
            </a:r>
            <a:r>
              <a:rPr lang="es-ES" b="1" dirty="0">
                <a:solidFill>
                  <a:srgbClr val="007934"/>
                </a:solidFill>
                <a:latin typeface="Trebuchet MS" pitchFamily="34" charset="0"/>
              </a:rPr>
              <a:t>:</a:t>
            </a:r>
            <a:r>
              <a:rPr lang="es-ES" dirty="0">
                <a:solidFill>
                  <a:schemeClr val="tx1">
                    <a:lumMod val="90000"/>
                    <a:lumOff val="10000"/>
                  </a:schemeClr>
                </a:solidFill>
              </a:rPr>
              <a:t> 90 m</a:t>
            </a:r>
            <a:r>
              <a:rPr lang="es-ES" baseline="30000" dirty="0">
                <a:solidFill>
                  <a:schemeClr val="tx1">
                    <a:lumMod val="90000"/>
                    <a:lumOff val="10000"/>
                  </a:schemeClr>
                </a:solidFill>
              </a:rPr>
              <a:t>3</a:t>
            </a:r>
            <a:r>
              <a:rPr lang="es-ES" dirty="0">
                <a:solidFill>
                  <a:schemeClr val="tx1">
                    <a:lumMod val="90000"/>
                    <a:lumOff val="10000"/>
                  </a:schemeClr>
                </a:solidFill>
              </a:rPr>
              <a:t>/s.</a:t>
            </a:r>
          </a:p>
        </p:txBody>
      </p:sp>
      <p:sp>
        <p:nvSpPr>
          <p:cNvPr id="6" name="5 Marcador de texto"/>
          <p:cNvSpPr>
            <a:spLocks noGrp="1"/>
          </p:cNvSpPr>
          <p:nvPr>
            <p:ph type="body" idx="13"/>
          </p:nvPr>
        </p:nvSpPr>
        <p:spPr/>
        <p:txBody>
          <a:bodyPr/>
          <a:lstStyle/>
          <a:p>
            <a:r>
              <a:rPr lang="es-CO" dirty="0"/>
              <a:t>Proyecto Hidroeléctrico Ituango</a:t>
            </a:r>
          </a:p>
        </p:txBody>
      </p:sp>
      <p:sp>
        <p:nvSpPr>
          <p:cNvPr id="7" name="6 Marcador de texto"/>
          <p:cNvSpPr>
            <a:spLocks noGrp="1"/>
          </p:cNvSpPr>
          <p:nvPr>
            <p:ph type="body" idx="14"/>
          </p:nvPr>
        </p:nvSpPr>
        <p:spPr/>
        <p:txBody>
          <a:bodyPr/>
          <a:lstStyle/>
          <a:p>
            <a:pPr marL="514350" indent="-514350">
              <a:buFont typeface="+mj-lt"/>
              <a:buAutoNum type="arabicPeriod"/>
            </a:pPr>
            <a:r>
              <a:rPr lang="es-CO" dirty="0"/>
              <a:t>Generalidades</a:t>
            </a:r>
          </a:p>
        </p:txBody>
      </p:sp>
      <p:sp>
        <p:nvSpPr>
          <p:cNvPr id="8" name="7 Marcador de texto"/>
          <p:cNvSpPr>
            <a:spLocks noGrp="1"/>
          </p:cNvSpPr>
          <p:nvPr>
            <p:ph type="body" idx="15"/>
          </p:nvPr>
        </p:nvSpPr>
        <p:spPr/>
        <p:txBody>
          <a:bodyPr/>
          <a:lstStyle/>
          <a:p>
            <a:r>
              <a:rPr lang="es-CO" dirty="0"/>
              <a:t>Potencia y Energía Firme</a:t>
            </a:r>
          </a:p>
        </p:txBody>
      </p:sp>
      <p:sp>
        <p:nvSpPr>
          <p:cNvPr id="4" name="Marcador de contenido 3"/>
          <p:cNvSpPr>
            <a:spLocks noGrp="1"/>
          </p:cNvSpPr>
          <p:nvPr>
            <p:ph sz="quarter" idx="20"/>
          </p:nvPr>
        </p:nvSpPr>
        <p:spPr>
          <a:xfrm>
            <a:off x="519895" y="1701848"/>
            <a:ext cx="4022921" cy="4236989"/>
          </a:xfrm>
        </p:spPr>
        <p:txBody>
          <a:bodyPr anchor="b"/>
          <a:lstStyle/>
          <a:p>
            <a:pPr marL="180975" indent="-180975" algn="just">
              <a:buFont typeface="Wingdings" panose="05000000000000000000" pitchFamily="2" charset="2"/>
              <a:buChar char="§"/>
            </a:pPr>
            <a:endParaRPr lang="es-CO" b="1" u="sng" dirty="0">
              <a:solidFill>
                <a:srgbClr val="007934"/>
              </a:solidFill>
              <a:ea typeface="+mn-ea"/>
              <a:cs typeface="+mn-cs"/>
            </a:endParaRPr>
          </a:p>
          <a:p>
            <a:pPr marL="180975" indent="-180975" algn="just">
              <a:buFont typeface="Wingdings" panose="05000000000000000000" pitchFamily="2" charset="2"/>
              <a:buChar char="§"/>
            </a:pPr>
            <a:endParaRPr lang="es-CO" b="1" u="sng" dirty="0">
              <a:solidFill>
                <a:srgbClr val="007934"/>
              </a:solidFill>
              <a:ea typeface="+mn-ea"/>
              <a:cs typeface="+mn-cs"/>
            </a:endParaRPr>
          </a:p>
          <a:p>
            <a:pPr marL="180975" indent="-180975" algn="just">
              <a:buFont typeface="Wingdings" panose="05000000000000000000" pitchFamily="2" charset="2"/>
              <a:buChar char="§"/>
            </a:pPr>
            <a:endParaRPr lang="es-CO" b="1" u="sng" dirty="0">
              <a:solidFill>
                <a:srgbClr val="007934"/>
              </a:solidFill>
              <a:ea typeface="+mn-ea"/>
              <a:cs typeface="+mn-cs"/>
            </a:endParaRPr>
          </a:p>
          <a:p>
            <a:pPr marL="180975" indent="-180975" algn="just">
              <a:buFont typeface="Wingdings" panose="05000000000000000000" pitchFamily="2" charset="2"/>
              <a:buChar char="§"/>
            </a:pPr>
            <a:endParaRPr lang="es-CO" b="1" u="sng" dirty="0">
              <a:solidFill>
                <a:srgbClr val="007934"/>
              </a:solidFill>
              <a:ea typeface="+mn-ea"/>
              <a:cs typeface="+mn-cs"/>
            </a:endParaRPr>
          </a:p>
          <a:p>
            <a:pPr marL="180975" indent="-180975" algn="just">
              <a:buFont typeface="Wingdings" panose="05000000000000000000" pitchFamily="2" charset="2"/>
              <a:buChar char="§"/>
            </a:pPr>
            <a:endParaRPr lang="es-CO" b="1" u="sng" dirty="0">
              <a:solidFill>
                <a:srgbClr val="007934"/>
              </a:solidFill>
              <a:ea typeface="+mn-ea"/>
              <a:cs typeface="+mn-cs"/>
            </a:endParaRPr>
          </a:p>
          <a:p>
            <a:pPr marL="180975" indent="-180975" algn="just">
              <a:buFont typeface="Wingdings" panose="05000000000000000000" pitchFamily="2" charset="2"/>
              <a:buChar char="§"/>
            </a:pPr>
            <a:endParaRPr lang="es-CO" b="1" u="sng" dirty="0">
              <a:solidFill>
                <a:srgbClr val="007934"/>
              </a:solidFill>
              <a:ea typeface="+mn-ea"/>
              <a:cs typeface="+mn-cs"/>
            </a:endParaRPr>
          </a:p>
          <a:p>
            <a:pPr marL="180975" indent="-180975" algn="just">
              <a:buFont typeface="Wingdings" panose="05000000000000000000" pitchFamily="2" charset="2"/>
              <a:buChar char="§"/>
            </a:pPr>
            <a:endParaRPr lang="es-CO" b="1" u="sng" dirty="0">
              <a:solidFill>
                <a:srgbClr val="007934"/>
              </a:solidFill>
              <a:ea typeface="+mn-ea"/>
              <a:cs typeface="+mn-cs"/>
            </a:endParaRPr>
          </a:p>
          <a:p>
            <a:pPr marL="180975" indent="-180975" algn="just">
              <a:buFont typeface="Wingdings" panose="05000000000000000000" pitchFamily="2" charset="2"/>
              <a:buChar char="§"/>
            </a:pPr>
            <a:endParaRPr lang="es-CO" b="1" u="sng" dirty="0">
              <a:solidFill>
                <a:srgbClr val="007934"/>
              </a:solidFill>
              <a:ea typeface="+mn-ea"/>
              <a:cs typeface="+mn-cs"/>
            </a:endParaRPr>
          </a:p>
          <a:p>
            <a:pPr marL="180975" indent="-180975" algn="just">
              <a:buFont typeface="Wingdings" panose="05000000000000000000" pitchFamily="2" charset="2"/>
              <a:buChar char="§"/>
            </a:pPr>
            <a:endParaRPr lang="es-CO" b="1" u="sng" dirty="0">
              <a:solidFill>
                <a:srgbClr val="007934"/>
              </a:solidFill>
              <a:ea typeface="+mn-ea"/>
              <a:cs typeface="+mn-cs"/>
            </a:endParaRPr>
          </a:p>
          <a:p>
            <a:pPr marL="180975" indent="-180975" algn="just">
              <a:buFont typeface="Wingdings" panose="05000000000000000000" pitchFamily="2" charset="2"/>
              <a:buChar char="§"/>
            </a:pPr>
            <a:endParaRPr lang="es-CO" b="1" u="sng" dirty="0">
              <a:solidFill>
                <a:srgbClr val="007934"/>
              </a:solidFill>
              <a:ea typeface="+mn-ea"/>
              <a:cs typeface="+mn-cs"/>
            </a:endParaRPr>
          </a:p>
          <a:p>
            <a:pPr marL="180975" indent="-180975" algn="just">
              <a:buFont typeface="Wingdings" panose="05000000000000000000" pitchFamily="2" charset="2"/>
              <a:buChar char="§"/>
            </a:pPr>
            <a:endParaRPr lang="es-CO" b="1" u="sng" dirty="0">
              <a:solidFill>
                <a:srgbClr val="007934"/>
              </a:solidFill>
              <a:ea typeface="+mn-ea"/>
              <a:cs typeface="+mn-cs"/>
            </a:endParaRPr>
          </a:p>
          <a:p>
            <a:pPr marL="180975" indent="-180975" algn="just">
              <a:buFont typeface="Wingdings" panose="05000000000000000000" pitchFamily="2" charset="2"/>
              <a:buChar char="§"/>
            </a:pPr>
            <a:endParaRPr lang="es-CO" b="1" u="sng" dirty="0">
              <a:solidFill>
                <a:srgbClr val="007934"/>
              </a:solidFill>
              <a:ea typeface="+mn-ea"/>
              <a:cs typeface="+mn-cs"/>
            </a:endParaRPr>
          </a:p>
          <a:p>
            <a:pPr marL="0" indent="0" algn="ctr">
              <a:spcBef>
                <a:spcPts val="0"/>
              </a:spcBef>
              <a:spcAft>
                <a:spcPts val="600"/>
              </a:spcAft>
              <a:buNone/>
            </a:pPr>
            <a:r>
              <a:rPr lang="es-CO" b="1" dirty="0">
                <a:solidFill>
                  <a:schemeClr val="tx1">
                    <a:lumMod val="90000"/>
                    <a:lumOff val="10000"/>
                  </a:schemeClr>
                </a:solidFill>
                <a:ea typeface="+mn-ea"/>
                <a:cs typeface="+mn-cs"/>
              </a:rPr>
              <a:t>Capacidad Instalada - </a:t>
            </a:r>
            <a:r>
              <a:rPr lang="es-CO" b="1" dirty="0">
                <a:solidFill>
                  <a:schemeClr val="tx1">
                    <a:lumMod val="90000"/>
                    <a:lumOff val="10000"/>
                  </a:schemeClr>
                </a:solidFill>
                <a:latin typeface="+mn-lt"/>
                <a:ea typeface="+mn-ea"/>
                <a:cs typeface="+mn-cs"/>
              </a:rPr>
              <a:t>2,400 MW</a:t>
            </a:r>
          </a:p>
          <a:p>
            <a:pPr marL="0" indent="0" algn="ctr">
              <a:buNone/>
            </a:pPr>
            <a:endParaRPr lang="es-CO" b="1" dirty="0">
              <a:solidFill>
                <a:schemeClr val="tx1">
                  <a:lumMod val="90000"/>
                  <a:lumOff val="10000"/>
                </a:schemeClr>
              </a:solidFill>
              <a:latin typeface="+mn-lt"/>
              <a:ea typeface="+mn-ea"/>
              <a:cs typeface="+mn-cs"/>
            </a:endParaRPr>
          </a:p>
        </p:txBody>
      </p:sp>
      <p:sp>
        <p:nvSpPr>
          <p:cNvPr id="3" name="2 Marcador de número de diapositiva"/>
          <p:cNvSpPr>
            <a:spLocks noGrp="1"/>
          </p:cNvSpPr>
          <p:nvPr>
            <p:ph type="sldNum" sz="quarter" idx="21"/>
          </p:nvPr>
        </p:nvSpPr>
        <p:spPr/>
        <p:txBody>
          <a:bodyPr/>
          <a:lstStyle/>
          <a:p>
            <a:fld id="{E342E011-D739-4258-81A8-D148B475F0B5}" type="slidenum">
              <a:rPr lang="es-CO" smtClean="0"/>
              <a:pPr/>
              <a:t>6</a:t>
            </a:fld>
            <a:endParaRPr lang="es-CO" dirty="0"/>
          </a:p>
        </p:txBody>
      </p:sp>
      <p:pic>
        <p:nvPicPr>
          <p:cNvPr id="10" name="Picture 2" descr="C:\Documents and Settings\ftobonc\Mis documentos\Ituango\Almanaque PH Ituango\Fotografías Almanaque Ituango 2012\Paisajes cañón del Cauca\MAO_6425.jpg"/>
          <p:cNvPicPr>
            <a:picLocks noChangeAspect="1" noChangeArrowheads="1"/>
          </p:cNvPicPr>
          <p:nvPr/>
        </p:nvPicPr>
        <p:blipFill>
          <a:blip r:embed="rId2" cstate="print"/>
          <a:srcRect/>
          <a:stretch>
            <a:fillRect/>
          </a:stretch>
        </p:blipFill>
        <p:spPr bwMode="auto">
          <a:xfrm>
            <a:off x="457200" y="1803652"/>
            <a:ext cx="3770696" cy="325473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Marcador de texto"/>
          <p:cNvSpPr>
            <a:spLocks noGrp="1"/>
          </p:cNvSpPr>
          <p:nvPr>
            <p:ph type="body" idx="13"/>
          </p:nvPr>
        </p:nvSpPr>
        <p:spPr/>
        <p:txBody>
          <a:bodyPr/>
          <a:lstStyle/>
          <a:p>
            <a:r>
              <a:rPr lang="es-CO" dirty="0"/>
              <a:t>Proyecto Hidroeléctrico Ituango</a:t>
            </a:r>
          </a:p>
        </p:txBody>
      </p:sp>
      <p:sp>
        <p:nvSpPr>
          <p:cNvPr id="7" name="6 Marcador de texto"/>
          <p:cNvSpPr>
            <a:spLocks noGrp="1"/>
          </p:cNvSpPr>
          <p:nvPr>
            <p:ph type="body" idx="14"/>
          </p:nvPr>
        </p:nvSpPr>
        <p:spPr/>
        <p:txBody>
          <a:bodyPr/>
          <a:lstStyle/>
          <a:p>
            <a:pPr marL="514350" indent="-514350">
              <a:buFont typeface="+mj-lt"/>
              <a:buAutoNum type="arabicPeriod"/>
            </a:pPr>
            <a:r>
              <a:rPr lang="es-CO" dirty="0"/>
              <a:t>Generalidades</a:t>
            </a:r>
          </a:p>
        </p:txBody>
      </p:sp>
      <p:sp>
        <p:nvSpPr>
          <p:cNvPr id="9" name="8 Marcador de texto"/>
          <p:cNvSpPr>
            <a:spLocks noGrp="1"/>
          </p:cNvSpPr>
          <p:nvPr>
            <p:ph type="body" sz="quarter" idx="19"/>
          </p:nvPr>
        </p:nvSpPr>
        <p:spPr/>
        <p:txBody>
          <a:bodyPr numCol="2" spcCol="720000" anchor="t"/>
          <a:lstStyle/>
          <a:p>
            <a:pPr lvl="0" algn="ctr" defTabSz="180000">
              <a:lnSpc>
                <a:spcPts val="3000"/>
              </a:lnSpc>
              <a:spcBef>
                <a:spcPts val="0"/>
              </a:spcBef>
            </a:pPr>
            <a:r>
              <a:rPr lang="es-ES" sz="1800" b="1" dirty="0">
                <a:solidFill>
                  <a:srgbClr val="007934"/>
                </a:solidFill>
                <a:effectLst>
                  <a:outerShdw blurRad="38100" dist="38100" dir="2700000" algn="tl">
                    <a:srgbClr val="000000">
                      <a:alpha val="43137"/>
                    </a:srgbClr>
                  </a:outerShdw>
                </a:effectLst>
                <a:latin typeface="Trebuchet MS" pitchFamily="34" charset="0"/>
              </a:rPr>
              <a:t>CAUDALES</a:t>
            </a:r>
          </a:p>
          <a:p>
            <a:pPr marL="179388" lvl="0" indent="-179388" algn="l" defTabSz="180000">
              <a:lnSpc>
                <a:spcPts val="3400"/>
              </a:lnSpc>
              <a:spcBef>
                <a:spcPts val="0"/>
              </a:spcBef>
              <a:buFont typeface="Wingdings" panose="05000000000000000000" pitchFamily="2" charset="2"/>
              <a:buChar char="§"/>
            </a:pPr>
            <a:r>
              <a:rPr lang="es-ES" u="sng" dirty="0">
                <a:solidFill>
                  <a:srgbClr val="007934"/>
                </a:solidFill>
                <a:latin typeface="Trebuchet MS" pitchFamily="34" charset="0"/>
              </a:rPr>
              <a:t>Promedio Máximo Mensual</a:t>
            </a:r>
            <a:r>
              <a:rPr lang="es-ES" dirty="0">
                <a:solidFill>
                  <a:srgbClr val="007934"/>
                </a:solidFill>
                <a:latin typeface="Trebuchet MS" pitchFamily="34" charset="0"/>
              </a:rPr>
              <a:t>: </a:t>
            </a:r>
            <a:r>
              <a:rPr lang="es-ES" dirty="0">
                <a:solidFill>
                  <a:schemeClr val="tx1">
                    <a:lumMod val="90000"/>
                    <a:lumOff val="10000"/>
                  </a:schemeClr>
                </a:solidFill>
              </a:rPr>
              <a:t>1,357 m</a:t>
            </a:r>
            <a:r>
              <a:rPr lang="es-ES" baseline="30000" dirty="0">
                <a:solidFill>
                  <a:schemeClr val="tx1">
                    <a:lumMod val="90000"/>
                    <a:lumOff val="10000"/>
                  </a:schemeClr>
                </a:solidFill>
              </a:rPr>
              <a:t>3</a:t>
            </a:r>
            <a:r>
              <a:rPr lang="es-ES" dirty="0">
                <a:solidFill>
                  <a:schemeClr val="tx1">
                    <a:lumMod val="90000"/>
                    <a:lumOff val="10000"/>
                  </a:schemeClr>
                </a:solidFill>
              </a:rPr>
              <a:t>/s. </a:t>
            </a:r>
          </a:p>
          <a:p>
            <a:pPr marL="180975" lvl="0" indent="-180975" algn="l">
              <a:lnSpc>
                <a:spcPts val="3400"/>
              </a:lnSpc>
              <a:spcBef>
                <a:spcPts val="0"/>
              </a:spcBef>
              <a:buFont typeface="Wingdings" panose="05000000000000000000" pitchFamily="2" charset="2"/>
              <a:buChar char="§"/>
            </a:pPr>
            <a:r>
              <a:rPr lang="es-ES" u="sng" dirty="0">
                <a:solidFill>
                  <a:srgbClr val="007934"/>
                </a:solidFill>
                <a:latin typeface="Trebuchet MS" pitchFamily="34" charset="0"/>
              </a:rPr>
              <a:t>Promedio Mínimo Mensual</a:t>
            </a:r>
            <a:r>
              <a:rPr lang="es-ES" dirty="0">
                <a:solidFill>
                  <a:srgbClr val="007934"/>
                </a:solidFill>
                <a:latin typeface="Trebuchet MS" pitchFamily="34" charset="0"/>
              </a:rPr>
              <a:t>: </a:t>
            </a:r>
            <a:r>
              <a:rPr lang="es-ES" dirty="0">
                <a:solidFill>
                  <a:schemeClr val="tx1">
                    <a:lumMod val="90000"/>
                    <a:lumOff val="10000"/>
                  </a:schemeClr>
                </a:solidFill>
              </a:rPr>
              <a:t>704 m</a:t>
            </a:r>
            <a:r>
              <a:rPr lang="es-ES" baseline="30000" dirty="0">
                <a:solidFill>
                  <a:schemeClr val="tx1">
                    <a:lumMod val="90000"/>
                    <a:lumOff val="10000"/>
                  </a:schemeClr>
                </a:solidFill>
              </a:rPr>
              <a:t>3</a:t>
            </a:r>
            <a:r>
              <a:rPr lang="es-ES" dirty="0">
                <a:solidFill>
                  <a:schemeClr val="tx1">
                    <a:lumMod val="90000"/>
                    <a:lumOff val="10000"/>
                  </a:schemeClr>
                </a:solidFill>
              </a:rPr>
              <a:t>/s (agosto).</a:t>
            </a:r>
          </a:p>
          <a:p>
            <a:pPr marL="180975" lvl="0" indent="-180975" algn="l">
              <a:lnSpc>
                <a:spcPts val="3400"/>
              </a:lnSpc>
              <a:spcBef>
                <a:spcPts val="0"/>
              </a:spcBef>
              <a:buFont typeface="Wingdings" panose="05000000000000000000" pitchFamily="2" charset="2"/>
              <a:buChar char="§"/>
            </a:pPr>
            <a:r>
              <a:rPr lang="es-ES" u="sng" dirty="0">
                <a:solidFill>
                  <a:srgbClr val="007934"/>
                </a:solidFill>
                <a:latin typeface="Trebuchet MS" pitchFamily="34" charset="0"/>
              </a:rPr>
              <a:t>Promedio Mensual</a:t>
            </a:r>
            <a:r>
              <a:rPr lang="es-ES" dirty="0">
                <a:solidFill>
                  <a:srgbClr val="007934"/>
                </a:solidFill>
                <a:latin typeface="Trebuchet MS" pitchFamily="34" charset="0"/>
              </a:rPr>
              <a:t>:</a:t>
            </a:r>
            <a:r>
              <a:rPr lang="es-ES" dirty="0">
                <a:solidFill>
                  <a:srgbClr val="2F2F2F">
                    <a:lumMod val="90000"/>
                    <a:lumOff val="10000"/>
                  </a:srgbClr>
                </a:solidFill>
              </a:rPr>
              <a:t> </a:t>
            </a:r>
            <a:r>
              <a:rPr lang="es-ES" dirty="0">
                <a:solidFill>
                  <a:schemeClr val="tx1">
                    <a:lumMod val="90000"/>
                    <a:lumOff val="10000"/>
                  </a:schemeClr>
                </a:solidFill>
              </a:rPr>
              <a:t>995 m</a:t>
            </a:r>
            <a:r>
              <a:rPr lang="es-ES" baseline="30000" dirty="0">
                <a:solidFill>
                  <a:schemeClr val="tx1">
                    <a:lumMod val="90000"/>
                    <a:lumOff val="10000"/>
                  </a:schemeClr>
                </a:solidFill>
              </a:rPr>
              <a:t>3</a:t>
            </a:r>
            <a:r>
              <a:rPr lang="es-ES" dirty="0">
                <a:solidFill>
                  <a:schemeClr val="tx1">
                    <a:lumMod val="90000"/>
                    <a:lumOff val="10000"/>
                  </a:schemeClr>
                </a:solidFill>
              </a:rPr>
              <a:t>/s.</a:t>
            </a:r>
          </a:p>
          <a:p>
            <a:pPr marL="180975" lvl="0" indent="-180975" algn="l">
              <a:lnSpc>
                <a:spcPts val="3400"/>
              </a:lnSpc>
              <a:spcBef>
                <a:spcPts val="0"/>
              </a:spcBef>
              <a:buFont typeface="Wingdings" panose="05000000000000000000" pitchFamily="2" charset="2"/>
              <a:buChar char="§"/>
            </a:pPr>
            <a:r>
              <a:rPr lang="es-ES" u="sng" dirty="0">
                <a:solidFill>
                  <a:srgbClr val="007934"/>
                </a:solidFill>
                <a:latin typeface="Trebuchet MS" pitchFamily="34" charset="0"/>
              </a:rPr>
              <a:t>Mínimo Diario</a:t>
            </a:r>
            <a:r>
              <a:rPr lang="es-ES" dirty="0">
                <a:solidFill>
                  <a:srgbClr val="007934"/>
                </a:solidFill>
                <a:latin typeface="Trebuchet MS" pitchFamily="34" charset="0"/>
              </a:rPr>
              <a:t>:</a:t>
            </a:r>
            <a:r>
              <a:rPr lang="es-ES" dirty="0">
                <a:solidFill>
                  <a:srgbClr val="2F2F2F">
                    <a:lumMod val="90000"/>
                    <a:lumOff val="10000"/>
                  </a:srgbClr>
                </a:solidFill>
              </a:rPr>
              <a:t> </a:t>
            </a:r>
            <a:r>
              <a:rPr lang="es-ES" dirty="0">
                <a:solidFill>
                  <a:schemeClr val="tx1">
                    <a:lumMod val="90000"/>
                    <a:lumOff val="10000"/>
                  </a:schemeClr>
                </a:solidFill>
              </a:rPr>
              <a:t>220 m</a:t>
            </a:r>
            <a:r>
              <a:rPr lang="es-ES" baseline="30000" dirty="0">
                <a:solidFill>
                  <a:schemeClr val="tx1">
                    <a:lumMod val="90000"/>
                    <a:lumOff val="10000"/>
                  </a:schemeClr>
                </a:solidFill>
              </a:rPr>
              <a:t>3</a:t>
            </a:r>
            <a:r>
              <a:rPr lang="es-ES" dirty="0">
                <a:solidFill>
                  <a:schemeClr val="tx1">
                    <a:lumMod val="90000"/>
                    <a:lumOff val="10000"/>
                  </a:schemeClr>
                </a:solidFill>
              </a:rPr>
              <a:t>/s (febrero 05 de 2016).</a:t>
            </a:r>
          </a:p>
          <a:p>
            <a:pPr marL="180975" indent="-180975" algn="l">
              <a:lnSpc>
                <a:spcPts val="3400"/>
              </a:lnSpc>
              <a:spcBef>
                <a:spcPts val="0"/>
              </a:spcBef>
              <a:buFont typeface="Wingdings" panose="05000000000000000000" pitchFamily="2" charset="2"/>
              <a:buChar char="§"/>
            </a:pPr>
            <a:r>
              <a:rPr lang="es-ES" u="sng" dirty="0">
                <a:solidFill>
                  <a:srgbClr val="007934"/>
                </a:solidFill>
                <a:latin typeface="Trebuchet MS" pitchFamily="34" charset="0"/>
              </a:rPr>
              <a:t>Máximo Diario</a:t>
            </a:r>
            <a:r>
              <a:rPr lang="es-ES" dirty="0">
                <a:solidFill>
                  <a:srgbClr val="007934"/>
                </a:solidFill>
                <a:latin typeface="Trebuchet MS" pitchFamily="34" charset="0"/>
              </a:rPr>
              <a:t>:</a:t>
            </a:r>
            <a:r>
              <a:rPr lang="es-ES" dirty="0">
                <a:solidFill>
                  <a:srgbClr val="2F2F2F">
                    <a:lumMod val="90000"/>
                    <a:lumOff val="10000"/>
                  </a:srgbClr>
                </a:solidFill>
              </a:rPr>
              <a:t> </a:t>
            </a:r>
            <a:r>
              <a:rPr lang="es-ES" dirty="0">
                <a:solidFill>
                  <a:schemeClr val="tx1">
                    <a:lumMod val="90000"/>
                    <a:lumOff val="10000"/>
                  </a:schemeClr>
                </a:solidFill>
              </a:rPr>
              <a:t>4,608 m</a:t>
            </a:r>
            <a:r>
              <a:rPr lang="es-ES" baseline="30000" dirty="0">
                <a:solidFill>
                  <a:schemeClr val="tx1">
                    <a:lumMod val="90000"/>
                    <a:lumOff val="10000"/>
                  </a:schemeClr>
                </a:solidFill>
              </a:rPr>
              <a:t>3</a:t>
            </a:r>
            <a:r>
              <a:rPr lang="es-ES" dirty="0">
                <a:solidFill>
                  <a:schemeClr val="tx1">
                    <a:lumMod val="90000"/>
                    <a:lumOff val="10000"/>
                  </a:schemeClr>
                </a:solidFill>
              </a:rPr>
              <a:t>/s (noviembre 21 de 2010).</a:t>
            </a:r>
          </a:p>
          <a:p>
            <a:pPr lvl="0" algn="l" defTabSz="180000">
              <a:lnSpc>
                <a:spcPts val="3000"/>
              </a:lnSpc>
              <a:spcBef>
                <a:spcPts val="0"/>
              </a:spcBef>
            </a:pPr>
            <a:r>
              <a:rPr lang="es-ES" sz="2000" dirty="0">
                <a:solidFill>
                  <a:srgbClr val="007934"/>
                </a:solidFill>
                <a:effectLst>
                  <a:outerShdw blurRad="38100" dist="38100" dir="2700000" algn="tl">
                    <a:srgbClr val="000000">
                      <a:alpha val="43137"/>
                    </a:srgbClr>
                  </a:outerShdw>
                </a:effectLst>
                <a:latin typeface="Trebuchet MS" pitchFamily="34" charset="0"/>
              </a:rPr>
              <a:t>EMBALSE</a:t>
            </a:r>
          </a:p>
          <a:p>
            <a:pPr marL="179388" lvl="0" indent="-179388" algn="l" defTabSz="180000">
              <a:lnSpc>
                <a:spcPts val="3400"/>
              </a:lnSpc>
              <a:spcBef>
                <a:spcPts val="0"/>
              </a:spcBef>
              <a:buFont typeface="Wingdings" panose="05000000000000000000" pitchFamily="2" charset="2"/>
              <a:buChar char="§"/>
            </a:pPr>
            <a:r>
              <a:rPr lang="es-ES" u="sng" dirty="0">
                <a:solidFill>
                  <a:srgbClr val="007934"/>
                </a:solidFill>
                <a:latin typeface="Trebuchet MS" pitchFamily="34" charset="0"/>
              </a:rPr>
              <a:t>Capacidad Total</a:t>
            </a:r>
            <a:r>
              <a:rPr lang="es-ES" dirty="0">
                <a:solidFill>
                  <a:srgbClr val="007934"/>
                </a:solidFill>
                <a:latin typeface="Trebuchet MS" pitchFamily="34" charset="0"/>
              </a:rPr>
              <a:t>: </a:t>
            </a:r>
            <a:r>
              <a:rPr lang="es-ES" dirty="0">
                <a:solidFill>
                  <a:schemeClr val="tx1">
                    <a:lumMod val="90000"/>
                    <a:lumOff val="10000"/>
                  </a:schemeClr>
                </a:solidFill>
              </a:rPr>
              <a:t>2,720 Mm</a:t>
            </a:r>
            <a:r>
              <a:rPr lang="es-ES" baseline="30000" dirty="0">
                <a:solidFill>
                  <a:schemeClr val="tx1">
                    <a:lumMod val="90000"/>
                    <a:lumOff val="10000"/>
                  </a:schemeClr>
                </a:solidFill>
              </a:rPr>
              <a:t>3</a:t>
            </a:r>
            <a:r>
              <a:rPr lang="es-ES" dirty="0">
                <a:solidFill>
                  <a:schemeClr val="tx1">
                    <a:lumMod val="90000"/>
                    <a:lumOff val="10000"/>
                  </a:schemeClr>
                </a:solidFill>
              </a:rPr>
              <a:t> (Nivel máximo técnico) </a:t>
            </a:r>
          </a:p>
          <a:p>
            <a:pPr marL="180975" lvl="0" indent="-180975" algn="l">
              <a:lnSpc>
                <a:spcPts val="3400"/>
              </a:lnSpc>
              <a:spcBef>
                <a:spcPts val="0"/>
              </a:spcBef>
              <a:buFont typeface="Wingdings" panose="05000000000000000000" pitchFamily="2" charset="2"/>
              <a:buChar char="§"/>
            </a:pPr>
            <a:r>
              <a:rPr lang="es-ES" u="sng" dirty="0">
                <a:solidFill>
                  <a:srgbClr val="007934"/>
                </a:solidFill>
                <a:latin typeface="Trebuchet MS" pitchFamily="34" charset="0"/>
              </a:rPr>
              <a:t>Capacidad Útil</a:t>
            </a:r>
            <a:r>
              <a:rPr lang="es-ES" dirty="0">
                <a:solidFill>
                  <a:srgbClr val="007934"/>
                </a:solidFill>
                <a:latin typeface="Trebuchet MS" pitchFamily="34" charset="0"/>
              </a:rPr>
              <a:t>: </a:t>
            </a:r>
            <a:r>
              <a:rPr lang="es-ES" dirty="0">
                <a:solidFill>
                  <a:srgbClr val="2F2F2F">
                    <a:lumMod val="90000"/>
                    <a:lumOff val="10000"/>
                  </a:srgbClr>
                </a:solidFill>
              </a:rPr>
              <a:t>975 </a:t>
            </a:r>
            <a:r>
              <a:rPr lang="es-ES" dirty="0">
                <a:solidFill>
                  <a:schemeClr val="tx1">
                    <a:lumMod val="90000"/>
                    <a:lumOff val="10000"/>
                  </a:schemeClr>
                </a:solidFill>
              </a:rPr>
              <a:t>Mm</a:t>
            </a:r>
            <a:r>
              <a:rPr lang="es-ES" baseline="30000" dirty="0">
                <a:solidFill>
                  <a:schemeClr val="tx1">
                    <a:lumMod val="90000"/>
                    <a:lumOff val="10000"/>
                  </a:schemeClr>
                </a:solidFill>
              </a:rPr>
              <a:t>3</a:t>
            </a:r>
            <a:endParaRPr lang="es-ES" dirty="0">
              <a:solidFill>
                <a:srgbClr val="2F2F2F">
                  <a:lumMod val="90000"/>
                  <a:lumOff val="10000"/>
                </a:srgbClr>
              </a:solidFill>
            </a:endParaRPr>
          </a:p>
          <a:p>
            <a:pPr marL="180975" lvl="0" indent="-180975" algn="l">
              <a:lnSpc>
                <a:spcPts val="3400"/>
              </a:lnSpc>
              <a:spcBef>
                <a:spcPts val="0"/>
              </a:spcBef>
              <a:buFont typeface="Wingdings" panose="05000000000000000000" pitchFamily="2" charset="2"/>
              <a:buChar char="§"/>
            </a:pPr>
            <a:r>
              <a:rPr lang="es-ES" u="sng" dirty="0">
                <a:solidFill>
                  <a:srgbClr val="007934"/>
                </a:solidFill>
                <a:latin typeface="Trebuchet MS" pitchFamily="34" charset="0"/>
              </a:rPr>
              <a:t>Nivel Máximo Excepcional</a:t>
            </a:r>
            <a:r>
              <a:rPr lang="es-ES" dirty="0">
                <a:solidFill>
                  <a:srgbClr val="007934"/>
                </a:solidFill>
                <a:latin typeface="Trebuchet MS" pitchFamily="34" charset="0"/>
              </a:rPr>
              <a:t>:</a:t>
            </a:r>
            <a:r>
              <a:rPr lang="es-ES" dirty="0">
                <a:solidFill>
                  <a:srgbClr val="2F2F2F">
                    <a:lumMod val="90000"/>
                    <a:lumOff val="10000"/>
                  </a:srgbClr>
                </a:solidFill>
              </a:rPr>
              <a:t> 432.5 m.s.m.m.</a:t>
            </a:r>
          </a:p>
          <a:p>
            <a:pPr marL="180975" lvl="0" indent="-180975" algn="l">
              <a:lnSpc>
                <a:spcPts val="3400"/>
              </a:lnSpc>
              <a:spcBef>
                <a:spcPts val="0"/>
              </a:spcBef>
              <a:buFont typeface="Wingdings" panose="05000000000000000000" pitchFamily="2" charset="2"/>
              <a:buChar char="§"/>
            </a:pPr>
            <a:r>
              <a:rPr lang="es-ES" u="sng" dirty="0">
                <a:solidFill>
                  <a:srgbClr val="007934"/>
                </a:solidFill>
                <a:latin typeface="Trebuchet MS" pitchFamily="34" charset="0"/>
              </a:rPr>
              <a:t>Nivel Máximo Técnico</a:t>
            </a:r>
            <a:r>
              <a:rPr lang="es-ES" dirty="0">
                <a:solidFill>
                  <a:srgbClr val="007934"/>
                </a:solidFill>
                <a:latin typeface="Trebuchet MS" pitchFamily="34" charset="0"/>
              </a:rPr>
              <a:t>:</a:t>
            </a:r>
            <a:r>
              <a:rPr lang="es-ES" dirty="0">
                <a:solidFill>
                  <a:srgbClr val="2F2F2F">
                    <a:lumMod val="90000"/>
                    <a:lumOff val="10000"/>
                  </a:srgbClr>
                </a:solidFill>
              </a:rPr>
              <a:t> </a:t>
            </a:r>
            <a:r>
              <a:rPr lang="es-ES" dirty="0">
                <a:solidFill>
                  <a:schemeClr val="tx1">
                    <a:lumMod val="90000"/>
                    <a:lumOff val="10000"/>
                  </a:schemeClr>
                </a:solidFill>
              </a:rPr>
              <a:t>420 m.s.m.m.</a:t>
            </a:r>
          </a:p>
          <a:p>
            <a:pPr marL="180975" indent="-180975" algn="l">
              <a:lnSpc>
                <a:spcPts val="3400"/>
              </a:lnSpc>
              <a:spcBef>
                <a:spcPts val="0"/>
              </a:spcBef>
              <a:buFont typeface="Wingdings" panose="05000000000000000000" pitchFamily="2" charset="2"/>
              <a:buChar char="§"/>
            </a:pPr>
            <a:r>
              <a:rPr lang="es-ES" u="sng" dirty="0">
                <a:solidFill>
                  <a:srgbClr val="007934"/>
                </a:solidFill>
                <a:latin typeface="Trebuchet MS" pitchFamily="34" charset="0"/>
              </a:rPr>
              <a:t>Nivel Mínimo Técnico</a:t>
            </a:r>
            <a:r>
              <a:rPr lang="es-ES" dirty="0">
                <a:solidFill>
                  <a:srgbClr val="007934"/>
                </a:solidFill>
                <a:latin typeface="Trebuchet MS" pitchFamily="34" charset="0"/>
              </a:rPr>
              <a:t>:</a:t>
            </a:r>
            <a:r>
              <a:rPr lang="es-ES" dirty="0">
                <a:solidFill>
                  <a:srgbClr val="2F2F2F">
                    <a:lumMod val="90000"/>
                    <a:lumOff val="10000"/>
                  </a:srgbClr>
                </a:solidFill>
              </a:rPr>
              <a:t> </a:t>
            </a:r>
            <a:r>
              <a:rPr lang="es-ES" dirty="0">
                <a:solidFill>
                  <a:schemeClr val="tx1">
                    <a:lumMod val="90000"/>
                    <a:lumOff val="10000"/>
                  </a:schemeClr>
                </a:solidFill>
              </a:rPr>
              <a:t>390 m.s.m.m.</a:t>
            </a:r>
          </a:p>
          <a:p>
            <a:pPr marL="180975" indent="-180975" algn="l">
              <a:lnSpc>
                <a:spcPts val="3400"/>
              </a:lnSpc>
              <a:spcBef>
                <a:spcPts val="0"/>
              </a:spcBef>
              <a:buFont typeface="Wingdings" panose="05000000000000000000" pitchFamily="2" charset="2"/>
              <a:buChar char="§"/>
            </a:pPr>
            <a:r>
              <a:rPr lang="es-ES" u="sng" dirty="0">
                <a:solidFill>
                  <a:srgbClr val="007934"/>
                </a:solidFill>
                <a:latin typeface="Trebuchet MS" pitchFamily="34" charset="0"/>
              </a:rPr>
              <a:t>Nivel Cresta de Vertedero</a:t>
            </a:r>
            <a:r>
              <a:rPr lang="es-ES" dirty="0">
                <a:solidFill>
                  <a:srgbClr val="007934"/>
                </a:solidFill>
                <a:latin typeface="Trebuchet MS" pitchFamily="34" charset="0"/>
              </a:rPr>
              <a:t>:</a:t>
            </a:r>
            <a:r>
              <a:rPr lang="es-ES" dirty="0">
                <a:solidFill>
                  <a:srgbClr val="2F2F2F">
                    <a:lumMod val="90000"/>
                    <a:lumOff val="10000"/>
                  </a:srgbClr>
                </a:solidFill>
              </a:rPr>
              <a:t> </a:t>
            </a:r>
            <a:r>
              <a:rPr lang="es-ES" dirty="0">
                <a:solidFill>
                  <a:schemeClr val="tx1">
                    <a:lumMod val="90000"/>
                    <a:lumOff val="10000"/>
                  </a:schemeClr>
                </a:solidFill>
              </a:rPr>
              <a:t>401 m.s.m.m.</a:t>
            </a:r>
            <a:endParaRPr lang="es-CO" dirty="0">
              <a:solidFill>
                <a:schemeClr val="tx1">
                  <a:lumMod val="90000"/>
                  <a:lumOff val="10000"/>
                </a:schemeClr>
              </a:solidFill>
            </a:endParaRPr>
          </a:p>
        </p:txBody>
      </p:sp>
      <p:sp>
        <p:nvSpPr>
          <p:cNvPr id="8" name="7 Marcador de texto"/>
          <p:cNvSpPr>
            <a:spLocks noGrp="1"/>
          </p:cNvSpPr>
          <p:nvPr>
            <p:ph type="body" idx="15"/>
          </p:nvPr>
        </p:nvSpPr>
        <p:spPr/>
        <p:txBody>
          <a:bodyPr/>
          <a:lstStyle/>
          <a:p>
            <a:r>
              <a:rPr lang="es-CO" dirty="0"/>
              <a:t>Caudales y Embalse</a:t>
            </a:r>
          </a:p>
        </p:txBody>
      </p:sp>
      <p:sp>
        <p:nvSpPr>
          <p:cNvPr id="3" name="2 Marcador de número de diapositiva"/>
          <p:cNvSpPr>
            <a:spLocks noGrp="1"/>
          </p:cNvSpPr>
          <p:nvPr>
            <p:ph type="sldNum" sz="quarter" idx="20"/>
          </p:nvPr>
        </p:nvSpPr>
        <p:spPr/>
        <p:txBody>
          <a:bodyPr/>
          <a:lstStyle/>
          <a:p>
            <a:fld id="{E342E011-D739-4258-81A8-D148B475F0B5}" type="slidenum">
              <a:rPr lang="es-CO" smtClean="0"/>
              <a:pPr/>
              <a:t>7</a:t>
            </a:fld>
            <a:endParaRPr lang="es-CO" dirty="0"/>
          </a:p>
        </p:txBody>
      </p:sp>
    </p:spTree>
    <p:extLst>
      <p:ext uri="{BB962C8B-B14F-4D97-AF65-F5344CB8AC3E}">
        <p14:creationId xmlns:p14="http://schemas.microsoft.com/office/powerpoint/2010/main" val="23627348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Gráfico 10"/>
          <p:cNvGraphicFramePr>
            <a:graphicFrameLocks/>
          </p:cNvGraphicFramePr>
          <p:nvPr>
            <p:extLst>
              <p:ext uri="{D42A27DB-BD31-4B8C-83A1-F6EECF244321}">
                <p14:modId xmlns:p14="http://schemas.microsoft.com/office/powerpoint/2010/main" val="2029267002"/>
              </p:ext>
            </p:extLst>
          </p:nvPr>
        </p:nvGraphicFramePr>
        <p:xfrm>
          <a:off x="466724" y="1702634"/>
          <a:ext cx="7953376" cy="4236204"/>
        </p:xfrm>
        <a:graphic>
          <a:graphicData uri="http://schemas.openxmlformats.org/drawingml/2006/chart">
            <c:chart xmlns:c="http://schemas.openxmlformats.org/drawingml/2006/chart" xmlns:r="http://schemas.openxmlformats.org/officeDocument/2006/relationships" r:id="rId2"/>
          </a:graphicData>
        </a:graphic>
      </p:graphicFrame>
      <p:sp>
        <p:nvSpPr>
          <p:cNvPr id="6" name="5 Marcador de texto"/>
          <p:cNvSpPr>
            <a:spLocks noGrp="1"/>
          </p:cNvSpPr>
          <p:nvPr>
            <p:ph type="body" idx="13"/>
          </p:nvPr>
        </p:nvSpPr>
        <p:spPr/>
        <p:txBody>
          <a:bodyPr/>
          <a:lstStyle/>
          <a:p>
            <a:r>
              <a:rPr lang="es-CO" dirty="0"/>
              <a:t>Proyecto Hidroeléctrico Ituango</a:t>
            </a:r>
          </a:p>
        </p:txBody>
      </p:sp>
      <p:sp>
        <p:nvSpPr>
          <p:cNvPr id="7" name="6 Marcador de texto"/>
          <p:cNvSpPr>
            <a:spLocks noGrp="1"/>
          </p:cNvSpPr>
          <p:nvPr>
            <p:ph type="body" idx="14"/>
          </p:nvPr>
        </p:nvSpPr>
        <p:spPr/>
        <p:txBody>
          <a:bodyPr/>
          <a:lstStyle/>
          <a:p>
            <a:pPr marL="514350" indent="-514350">
              <a:buFont typeface="+mj-lt"/>
              <a:buAutoNum type="arabicPeriod"/>
            </a:pPr>
            <a:r>
              <a:rPr lang="es-CO" dirty="0"/>
              <a:t>Generalidades</a:t>
            </a:r>
          </a:p>
        </p:txBody>
      </p:sp>
      <p:sp>
        <p:nvSpPr>
          <p:cNvPr id="8" name="7 Marcador de texto"/>
          <p:cNvSpPr>
            <a:spLocks noGrp="1"/>
          </p:cNvSpPr>
          <p:nvPr>
            <p:ph type="body" idx="15"/>
          </p:nvPr>
        </p:nvSpPr>
        <p:spPr/>
        <p:txBody>
          <a:bodyPr/>
          <a:lstStyle/>
          <a:p>
            <a:r>
              <a:rPr lang="es-CO" dirty="0"/>
              <a:t>Caudales Medios Históricos Mensuales</a:t>
            </a:r>
          </a:p>
        </p:txBody>
      </p:sp>
      <p:sp>
        <p:nvSpPr>
          <p:cNvPr id="3" name="2 Marcador de número de diapositiva"/>
          <p:cNvSpPr>
            <a:spLocks noGrp="1"/>
          </p:cNvSpPr>
          <p:nvPr>
            <p:ph type="sldNum" sz="quarter" idx="20"/>
          </p:nvPr>
        </p:nvSpPr>
        <p:spPr/>
        <p:txBody>
          <a:bodyPr/>
          <a:lstStyle/>
          <a:p>
            <a:fld id="{E342E011-D739-4258-81A8-D148B475F0B5}" type="slidenum">
              <a:rPr lang="es-CO" smtClean="0"/>
              <a:pPr/>
              <a:t>8</a:t>
            </a:fld>
            <a:endParaRPr lang="es-CO" dirty="0"/>
          </a:p>
        </p:txBody>
      </p:sp>
    </p:spTree>
    <p:extLst>
      <p:ext uri="{BB962C8B-B14F-4D97-AF65-F5344CB8AC3E}">
        <p14:creationId xmlns:p14="http://schemas.microsoft.com/office/powerpoint/2010/main" val="27523418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Marcador de texto"/>
          <p:cNvSpPr>
            <a:spLocks noGrp="1"/>
          </p:cNvSpPr>
          <p:nvPr>
            <p:ph type="body" idx="13"/>
          </p:nvPr>
        </p:nvSpPr>
        <p:spPr/>
        <p:txBody>
          <a:bodyPr/>
          <a:lstStyle/>
          <a:p>
            <a:r>
              <a:rPr lang="es-CO" dirty="0"/>
              <a:t>Proyecto Hidroeléctrico Ituango</a:t>
            </a:r>
          </a:p>
        </p:txBody>
      </p:sp>
      <p:sp>
        <p:nvSpPr>
          <p:cNvPr id="7" name="6 Marcador de texto"/>
          <p:cNvSpPr>
            <a:spLocks noGrp="1"/>
          </p:cNvSpPr>
          <p:nvPr>
            <p:ph type="body" idx="14"/>
          </p:nvPr>
        </p:nvSpPr>
        <p:spPr/>
        <p:txBody>
          <a:bodyPr/>
          <a:lstStyle/>
          <a:p>
            <a:pPr marL="514350" indent="-514350">
              <a:buFont typeface="+mj-lt"/>
              <a:buAutoNum type="arabicPeriod"/>
            </a:pPr>
            <a:r>
              <a:rPr lang="es-CO" dirty="0"/>
              <a:t>Generalidades</a:t>
            </a:r>
          </a:p>
        </p:txBody>
      </p:sp>
      <p:sp>
        <p:nvSpPr>
          <p:cNvPr id="8" name="7 Marcador de texto"/>
          <p:cNvSpPr>
            <a:spLocks noGrp="1"/>
          </p:cNvSpPr>
          <p:nvPr>
            <p:ph type="body" idx="15"/>
          </p:nvPr>
        </p:nvSpPr>
        <p:spPr/>
        <p:txBody>
          <a:bodyPr/>
          <a:lstStyle/>
          <a:p>
            <a:r>
              <a:rPr lang="es-CO" dirty="0"/>
              <a:t>Obras Principales</a:t>
            </a:r>
          </a:p>
        </p:txBody>
      </p:sp>
      <p:sp>
        <p:nvSpPr>
          <p:cNvPr id="3" name="2 Marcador de número de diapositiva"/>
          <p:cNvSpPr>
            <a:spLocks noGrp="1"/>
          </p:cNvSpPr>
          <p:nvPr>
            <p:ph type="sldNum" sz="quarter" idx="20"/>
          </p:nvPr>
        </p:nvSpPr>
        <p:spPr/>
        <p:txBody>
          <a:bodyPr/>
          <a:lstStyle/>
          <a:p>
            <a:fld id="{E342E011-D739-4258-81A8-D148B475F0B5}" type="slidenum">
              <a:rPr lang="es-CO" smtClean="0"/>
              <a:pPr/>
              <a:t>9</a:t>
            </a:fld>
            <a:endParaRPr lang="es-CO" dirty="0"/>
          </a:p>
        </p:txBody>
      </p:sp>
      <p:sp>
        <p:nvSpPr>
          <p:cNvPr id="11" name="Rectángulo: esquinas redondeadas 3">
            <a:hlinkClick r:id="rId2" action="ppaction://hlinkfile"/>
            <a:extLst>
              <a:ext uri="{FF2B5EF4-FFF2-40B4-BE49-F238E27FC236}">
                <a16:creationId xmlns:a16="http://schemas.microsoft.com/office/drawing/2014/main" id="{3A333199-DB0B-41A9-97C7-0DCC06F931E6}"/>
              </a:ext>
            </a:extLst>
          </p:cNvPr>
          <p:cNvSpPr/>
          <p:nvPr/>
        </p:nvSpPr>
        <p:spPr>
          <a:xfrm>
            <a:off x="2331789" y="2194503"/>
            <a:ext cx="4181622" cy="925830"/>
          </a:xfrm>
          <a:prstGeom prst="roundRect">
            <a:avLst/>
          </a:prstGeom>
          <a:solidFill>
            <a:srgbClr val="007635"/>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2400" dirty="0">
                <a:solidFill>
                  <a:schemeClr val="bg1"/>
                </a:solidFill>
              </a:rPr>
              <a:t>VIDEO</a:t>
            </a:r>
          </a:p>
        </p:txBody>
      </p:sp>
    </p:spTree>
    <p:extLst>
      <p:ext uri="{BB962C8B-B14F-4D97-AF65-F5344CB8AC3E}">
        <p14:creationId xmlns:p14="http://schemas.microsoft.com/office/powerpoint/2010/main" val="37408003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EPM">
      <a:dk1>
        <a:srgbClr val="FFFFFF"/>
      </a:dk1>
      <a:lt1>
        <a:srgbClr val="2F2F2F"/>
      </a:lt1>
      <a:dk2>
        <a:srgbClr val="FFFFFF"/>
      </a:dk2>
      <a:lt2>
        <a:srgbClr val="2F2F2F"/>
      </a:lt2>
      <a:accent1>
        <a:srgbClr val="F2F2F2"/>
      </a:accent1>
      <a:accent2>
        <a:srgbClr val="92D050"/>
      </a:accent2>
      <a:accent3>
        <a:srgbClr val="9BBB59"/>
      </a:accent3>
      <a:accent4>
        <a:srgbClr val="007934"/>
      </a:accent4>
      <a:accent5>
        <a:srgbClr val="64E032"/>
      </a:accent5>
      <a:accent6>
        <a:srgbClr val="2F2F2F"/>
      </a:accent6>
      <a:hlink>
        <a:srgbClr val="5DBF0C"/>
      </a:hlink>
      <a:folHlink>
        <a:srgbClr val="007934"/>
      </a:folHlink>
    </a:clrScheme>
    <a:fontScheme name="Fuentes EPM">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marL="0" marR="0" indent="0" algn="ctr" defTabSz="914400" rtl="0" eaLnBrk="1" fontAlgn="auto" latinLnBrk="0" hangingPunct="1">
          <a:lnSpc>
            <a:spcPct val="100000"/>
          </a:lnSpc>
          <a:spcBef>
            <a:spcPct val="0"/>
          </a:spcBef>
          <a:spcAft>
            <a:spcPts val="0"/>
          </a:spcAft>
          <a:buClrTx/>
          <a:buSzTx/>
          <a:buFontTx/>
          <a:buNone/>
          <a:tabLst/>
          <a:defRPr kumimoji="0" sz="4400" b="0" i="0" u="none" strike="noStrike" kern="1200" cap="none" spc="0" normalizeH="0" baseline="0" noProof="0" dirty="0" smtClean="0">
            <a:ln>
              <a:noFill/>
            </a:ln>
            <a:solidFill>
              <a:schemeClr val="tx1"/>
            </a:solidFill>
            <a:effectLst/>
            <a:uLnTx/>
            <a:uFillTx/>
            <a:latin typeface="+mj-lt"/>
            <a:ea typeface="+mj-ea"/>
            <a:cs typeface="+mj-cs"/>
          </a:defRPr>
        </a:defPPr>
      </a:lstStyle>
    </a:txDef>
  </a:objectDefaults>
  <a:extraClrSchemeLst/>
</a:theme>
</file>

<file path=ppt/theme/theme2.xml><?xml version="1.0" encoding="utf-8"?>
<a:theme xmlns:a="http://schemas.openxmlformats.org/drawingml/2006/main" name="11_Blank">
  <a:themeElements>
    <a:clrScheme name="Teme de Office">
      <a:dk1>
        <a:srgbClr val="000000"/>
      </a:dk1>
      <a:lt1>
        <a:srgbClr val="FFFFFF"/>
      </a:lt1>
      <a:dk2>
        <a:srgbClr val="000000"/>
      </a:dk2>
      <a:lt2>
        <a:srgbClr val="FFFFFF"/>
      </a:lt2>
      <a:accent1>
        <a:srgbClr val="92D050"/>
      </a:accent1>
      <a:accent2>
        <a:srgbClr val="9BBB59"/>
      </a:accent2>
      <a:accent3>
        <a:srgbClr val="007934"/>
      </a:accent3>
      <a:accent4>
        <a:srgbClr val="64E032"/>
      </a:accent4>
      <a:accent5>
        <a:srgbClr val="D9D9D9"/>
      </a:accent5>
      <a:accent6>
        <a:srgbClr val="7F7F7F"/>
      </a:accent6>
      <a:hlink>
        <a:srgbClr val="5DBF0C"/>
      </a:hlink>
      <a:folHlink>
        <a:srgbClr val="BFD9AA"/>
      </a:folHlink>
    </a:clrScheme>
    <a:fontScheme name="nachsehen">
      <a:majorFont>
        <a:latin typeface="Book Antiqu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spPr>
      <a:bodyPr rtlCol="0" anchor="ctr">
        <a:noAutofit/>
      </a:bodyPr>
      <a:lstStyle>
        <a:defPPr algn="ctr">
          <a:defRPr sz="1200" dirty="0">
            <a:latin typeface="+mn-lt"/>
          </a:defRPr>
        </a:defPPr>
      </a:lstStyle>
      <a:style>
        <a:lnRef idx="1">
          <a:schemeClr val="accent1"/>
        </a:lnRef>
        <a:fillRef idx="0">
          <a:schemeClr val="accent1"/>
        </a:fillRef>
        <a:effectRef idx="0">
          <a:schemeClr val="accent1"/>
        </a:effectRef>
        <a:fontRef idx="minor">
          <a:schemeClr val="tx1"/>
        </a:fontRef>
      </a:style>
    </a:spDef>
    <a:lnDef>
      <a:spPr>
        <a:ln>
          <a:solidFill>
            <a:srgbClr val="000000"/>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spAutoFit/>
      </a:bodyPr>
      <a:lstStyle>
        <a:defPPr>
          <a:defRPr sz="1200" dirty="0" smtClean="0">
            <a:latin typeface="Arial" pitchFamily="34" charset="0"/>
            <a:cs typeface="Arial" pitchFamily="34" charset="0"/>
          </a:defRPr>
        </a:defPPr>
      </a:lstStyle>
    </a:txDef>
  </a:objectDefaults>
  <a:extraClrSchemeLst/>
  <a:custClrLst>
    <a:custClr name="Grey 3">
      <a:srgbClr val="939393"/>
    </a:custClr>
    <a:custClr name="Grey 4">
      <a:srgbClr val="696969"/>
    </a:custClr>
    <a:custClr name="Green 1">
      <a:srgbClr val="DAF0A8"/>
    </a:custClr>
    <a:custClr name="Green 2">
      <a:srgbClr val="AFE06E"/>
    </a:custClr>
    <a:custClr name="Green 3">
      <a:srgbClr val="7DB935"/>
    </a:custClr>
    <a:custClr name="Green 4">
      <a:srgbClr val="608B2D"/>
    </a:custClr>
    <a:custClr name="Orange 1">
      <a:srgbClr val="F3CF74"/>
    </a:custClr>
    <a:custClr name="Orange 2">
      <a:srgbClr val="EFB643"/>
    </a:custClr>
    <a:custClr name="Orange 3">
      <a:srgbClr val="F18917"/>
    </a:custClr>
    <a:custClr name="Orange 4">
      <a:srgbClr val="D26308"/>
    </a:custClr>
  </a:custClr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lantillasEnergia2007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lantillasEnergia20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5B620D8161963348960CE5127C1150D0" ma:contentTypeVersion="0" ma:contentTypeDescription="Crear nuevo documento." ma:contentTypeScope="" ma:versionID="d7172f888755a6b11e13335488380473">
  <xsd:schema xmlns:xsd="http://www.w3.org/2001/XMLSchema" xmlns:p="http://schemas.microsoft.com/office/2006/metadata/properties" targetNamespace="http://schemas.microsoft.com/office/2006/metadata/properties" ma:root="true" ma:fieldsID="b004d877ca112f136821ba8115f6472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ma:readOnly="true"/>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C12D8842-624E-4FB7-8724-FD4C3D7BA98C}">
  <ds:schemaRefs>
    <ds:schemaRef ds:uri="http://schemas.microsoft.com/sharepoint/v3/contenttype/forms"/>
  </ds:schemaRefs>
</ds:datastoreItem>
</file>

<file path=customXml/itemProps2.xml><?xml version="1.0" encoding="utf-8"?>
<ds:datastoreItem xmlns:ds="http://schemas.openxmlformats.org/officeDocument/2006/customXml" ds:itemID="{68AAEB79-7F32-422F-95F7-19E27D1A7351}">
  <ds:schemaRefs>
    <ds:schemaRef ds:uri="http://purl.org/dc/terms/"/>
    <ds:schemaRef ds:uri="http://schemas.microsoft.com/office/2006/documentManagement/types"/>
    <ds:schemaRef ds:uri="http://purl.org/dc/dcmitype/"/>
    <ds:schemaRef ds:uri="http://purl.org/dc/elements/1.1/"/>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FD1946C-DA3A-4E40-B3FC-B683367DEF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4633</TotalTime>
  <Words>2104</Words>
  <Application>Microsoft Office PowerPoint</Application>
  <PresentationFormat>Presentación en pantalla (4:3)</PresentationFormat>
  <Paragraphs>291</Paragraphs>
  <Slides>33</Slides>
  <Notes>3</Notes>
  <HiddenSlides>0</HiddenSlides>
  <MMClips>0</MMClips>
  <ScaleCrop>false</ScaleCrop>
  <HeadingPairs>
    <vt:vector size="8" baseType="variant">
      <vt:variant>
        <vt:lpstr>Fuentes usadas</vt:lpstr>
      </vt:variant>
      <vt:variant>
        <vt:i4>7</vt:i4>
      </vt:variant>
      <vt:variant>
        <vt:lpstr>Tema</vt:lpstr>
      </vt:variant>
      <vt:variant>
        <vt:i4>2</vt:i4>
      </vt:variant>
      <vt:variant>
        <vt:lpstr>Servidores OLE incrustados</vt:lpstr>
      </vt:variant>
      <vt:variant>
        <vt:i4>2</vt:i4>
      </vt:variant>
      <vt:variant>
        <vt:lpstr>Títulos de diapositiva</vt:lpstr>
      </vt:variant>
      <vt:variant>
        <vt:i4>33</vt:i4>
      </vt:variant>
    </vt:vector>
  </HeadingPairs>
  <TitlesOfParts>
    <vt:vector size="44" baseType="lpstr">
      <vt:lpstr>Arial</vt:lpstr>
      <vt:lpstr>Arial Unicode MS</vt:lpstr>
      <vt:lpstr>Calibri</vt:lpstr>
      <vt:lpstr>Courier New</vt:lpstr>
      <vt:lpstr>Times New Roman</vt:lpstr>
      <vt:lpstr>Trebuchet MS</vt:lpstr>
      <vt:lpstr>Wingdings</vt:lpstr>
      <vt:lpstr>Tema de Office</vt:lpstr>
      <vt:lpstr>11_Blank</vt:lpstr>
      <vt:lpstr>think-cell Slide</vt:lpstr>
      <vt:lpstr>Bitmap Image</vt:lpstr>
      <vt:lpstr>Presentación de PowerPoint</vt:lpstr>
      <vt:lpstr>PROYECTO HIDROELÉCTRICO ITUANGO</vt:lpstr>
      <vt:lpstr>Contenido</vt:lpstr>
      <vt:lpstr>GENERALIDADES</vt:lpstr>
      <vt:lpstr>Presentación de PowerPoint</vt:lpstr>
      <vt:lpstr>Presentación de PowerPoint</vt:lpstr>
      <vt:lpstr>Presentación de PowerPoint</vt:lpstr>
      <vt:lpstr>Presentación de PowerPoint</vt:lpstr>
      <vt:lpstr>Presentación de PowerPoint</vt:lpstr>
      <vt:lpstr>COMPONENTE AMBIENTAL</vt:lpstr>
      <vt:lpstr>2.1 Origen de la Regla de Operación</vt:lpstr>
      <vt:lpstr>Presentación de PowerPoint</vt:lpstr>
      <vt:lpstr>Presentación de PowerPoint</vt:lpstr>
      <vt:lpstr>Presentación de PowerPoint</vt:lpstr>
      <vt:lpstr>2.2 Licencia Ambiental y PMA</vt:lpstr>
      <vt:lpstr>Presentación de PowerPoint</vt:lpstr>
      <vt:lpstr>Presentación de PowerPoint</vt:lpstr>
      <vt:lpstr>Presentación de PowerPoint</vt:lpstr>
      <vt:lpstr>Presentación de PowerPoint</vt:lpstr>
      <vt:lpstr>OPERACIÓN DEL PROYECT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ONCLUSIONES</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cagudelj</dc:creator>
  <cp:lastModifiedBy>Alberto Olarte</cp:lastModifiedBy>
  <cp:revision>462</cp:revision>
  <dcterms:created xsi:type="dcterms:W3CDTF">2012-04-26T19:52:59Z</dcterms:created>
  <dcterms:modified xsi:type="dcterms:W3CDTF">2017-12-05T22:21:48Z</dcterms:modified>
</cp:coreProperties>
</file>